
<file path=[Content_Types].xml><?xml version="1.0" encoding="utf-8"?>
<Types xmlns="http://schemas.openxmlformats.org/package/2006/content-types">
  <Default Extension="bin" ContentType="image/pn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media/image8.bin" ContentType="image/sv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media/image12.bin" ContentType="image/svg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media/image26.bin" ContentType="image/svg+xml"/>
  <Override PartName="/ppt/tags/tag5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1" r:id="rId1"/>
  </p:sldMasterIdLst>
  <p:notesMasterIdLst>
    <p:notesMasterId r:id="rId20"/>
  </p:notesMasterIdLst>
  <p:handoutMasterIdLst>
    <p:handoutMasterId r:id="rId21"/>
  </p:handoutMasterIdLst>
  <p:sldIdLst>
    <p:sldId id="2076137447" r:id="rId2"/>
    <p:sldId id="2076137466" r:id="rId3"/>
    <p:sldId id="2076137467" r:id="rId4"/>
    <p:sldId id="2076137468" r:id="rId5"/>
    <p:sldId id="2076137469" r:id="rId6"/>
    <p:sldId id="2076137471" r:id="rId7"/>
    <p:sldId id="2076137470" r:id="rId8"/>
    <p:sldId id="2076137472" r:id="rId9"/>
    <p:sldId id="2076137473" r:id="rId10"/>
    <p:sldId id="2076137474" r:id="rId11"/>
    <p:sldId id="2076137475" r:id="rId12"/>
    <p:sldId id="2076137476" r:id="rId13"/>
    <p:sldId id="2076137478" r:id="rId14"/>
    <p:sldId id="2076137479" r:id="rId15"/>
    <p:sldId id="2076137480" r:id="rId16"/>
    <p:sldId id="2076137481" r:id="rId17"/>
    <p:sldId id="2076137482" r:id="rId18"/>
    <p:sldId id="2076137464" r:id="rId19"/>
  </p:sldIdLst>
  <p:sldSz cx="12192000" cy="6858000"/>
  <p:notesSz cx="7010400" cy="92964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0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4272D"/>
    <a:srgbClr val="DFDF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0A15C55-8517-42AA-B614-E9B94910E393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36" autoAdjust="0"/>
    <p:restoredTop sz="74558" autoAdjust="0"/>
  </p:normalViewPr>
  <p:slideViewPr>
    <p:cSldViewPr showGuides="1">
      <p:cViewPr varScale="1">
        <p:scale>
          <a:sx n="89" d="100"/>
          <a:sy n="89" d="100"/>
        </p:scale>
        <p:origin x="1720" y="176"/>
      </p:cViewPr>
      <p:guideLst>
        <p:guide orient="horz" pos="1104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84" d="100"/>
          <a:sy n="84" d="100"/>
        </p:scale>
        <p:origin x="3828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5C0A312-443C-45E0-B3A9-2D8FEC7A828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9363266-BD17-44F2-B0CB-6444902EB39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6A891D6-C941-4D6C-9A55-AEFCF108CEF7}" type="datetimeFigureOut">
              <a:rPr lang="en-US"/>
              <a:t>10/7/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9D5B9-61C3-411A-BF86-E0FDD88A1DC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C5C161-FFCB-4D79-9834-6EA48678D07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8426F54-567D-4396-9385-7D94C4116E86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8611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F0CBD38A-F1CF-4197-BE82-F768A8DE4742}" type="datetimeFigureOut">
              <a:rPr lang="en-US"/>
              <a:t>10/7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0B1596F-1878-46C0-9439-F5AABA798414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78787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1596F-1878-46C0-9439-F5AABA798414}" type="slidenum">
              <a:rPr lang="en-US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5994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1 conversions in total, 9 of which are attributed to the True North Access Care – Express Care – Display campaig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1596F-1878-46C0-9439-F5AABA798414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48517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9 conversion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1596F-1878-46C0-9439-F5AABA79841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2031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lick to call seems to be one of the only major “goals” being tracked. What else can we track?</a:t>
            </a:r>
          </a:p>
          <a:p>
            <a:endParaRPr lang="en-US" dirty="0"/>
          </a:p>
          <a:p>
            <a:r>
              <a:rPr lang="en-US" dirty="0"/>
              <a:t>Mammography appointment requests?</a:t>
            </a:r>
          </a:p>
          <a:p>
            <a:r>
              <a:rPr lang="en-US" dirty="0"/>
              <a:t>Baby University doesn’t seem to be registering goal completions. I presume people are still enrolling?</a:t>
            </a:r>
          </a:p>
          <a:p>
            <a:endParaRPr lang="en-US" dirty="0"/>
          </a:p>
          <a:p>
            <a:r>
              <a:rPr lang="en-US" dirty="0"/>
              <a:t>Should we consider asking your CFO what the cost of a new patients, mammography appointment, appointment request is in terms of “patient value” so we can ascribe some dollar amounts to these goals and conversion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1596F-1878-46C0-9439-F5AABA798414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4968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re mega menu dropdown is the most often used menu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ost of the visitors to the megamenu are going to your Employees section.</a:t>
            </a:r>
          </a:p>
          <a:p>
            <a:endParaRPr lang="en-US" dirty="0"/>
          </a:p>
          <a:p>
            <a:r>
              <a:rPr lang="en-US" dirty="0"/>
              <a:t>Second is Patients &amp; Visitors mega menu dropdow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ay Your Bill and Records Requests are most often sought out second path.</a:t>
            </a:r>
          </a:p>
          <a:p>
            <a:endParaRPr lang="en-US" dirty="0"/>
          </a:p>
          <a:p>
            <a:r>
              <a:rPr lang="en-US" dirty="0"/>
              <a:t>Third is Learn About Shots slid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ost of these visitors are going to the COVID information page.</a:t>
            </a:r>
          </a:p>
          <a:p>
            <a:endParaRPr lang="en-US" dirty="0"/>
          </a:p>
          <a:p>
            <a:r>
              <a:rPr lang="en-US" dirty="0"/>
              <a:t>Fourth is Careers Dropdown.</a:t>
            </a:r>
          </a:p>
          <a:p>
            <a:endParaRPr lang="en-US" dirty="0"/>
          </a:p>
          <a:p>
            <a:r>
              <a:rPr lang="en-US" dirty="0"/>
              <a:t>What’s interesting here is that the Services dropdown does not account for a significant amount of traffic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ervices accounts for 5.6K actions, 6.29% of traffic from home pag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ay Your Bill under quick links = 4.6K actions, 5.11% of traffic from home pag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ind A Provider menu = 3.8K, 4.26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ind A Location – 2.2K, 2.49%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1596F-1878-46C0-9439-F5AABA798414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1415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1596F-1878-46C0-9439-F5AABA798414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8798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57.58% of traffic is coming from mobile devices, which further indicates the need to be mobile-first. Apple is far outperforming other device types.</a:t>
            </a:r>
          </a:p>
          <a:p>
            <a:endParaRPr lang="en-US" dirty="0"/>
          </a:p>
          <a:p>
            <a:r>
              <a:rPr lang="en-US" dirty="0"/>
              <a:t>38.11% of traffic is coming from desktops.</a:t>
            </a:r>
          </a:p>
          <a:p>
            <a:endParaRPr lang="en-US" dirty="0"/>
          </a:p>
          <a:p>
            <a:r>
              <a:rPr lang="en-US" dirty="0"/>
              <a:t>Of additional importance, mobile users are far more likely to complete a goal/conversion as created by whoever set up your accoun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21,488 goal completions by mobile us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1,409 goal completions by desktop us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98 goal completions by tablet us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1596F-1878-46C0-9439-F5AABA79841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3797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s expected, the majority of your traffic is coming from South Carolina. </a:t>
            </a:r>
          </a:p>
          <a:p>
            <a:endParaRPr lang="en-US" dirty="0"/>
          </a:p>
          <a:p>
            <a:r>
              <a:rPr lang="en-US" dirty="0"/>
              <a:t>Where is True North located? I’m surprised by some of these: Texas, New York, California</a:t>
            </a:r>
          </a:p>
          <a:p>
            <a:endParaRPr lang="en-US" dirty="0"/>
          </a:p>
          <a:p>
            <a:r>
              <a:rPr lang="en-US" dirty="0"/>
              <a:t>(Ohio is in there. Sorry!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1596F-1878-46C0-9439-F5AABA79841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1733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re any of these surprising to you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1596F-1878-46C0-9439-F5AABA79841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6428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rganic search is by far your best performer in terms of acquisition and goal conversion.</a:t>
            </a:r>
          </a:p>
          <a:p>
            <a:r>
              <a:rPr lang="en-US" dirty="0"/>
              <a:t>Referral and Paid Search bring in a decent percentage of conversions considering their acquisition rat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1596F-1878-46C0-9439-F5AABA79841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3393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1596F-1878-46C0-9439-F5AABA79841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4960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Palmettomedicalgrp.com</a:t>
            </a:r>
            <a:r>
              <a:rPr lang="en-US" dirty="0"/>
              <a:t> and </a:t>
            </a:r>
            <a:r>
              <a:rPr lang="en-US" dirty="0" err="1"/>
              <a:t>islandpacket.com</a:t>
            </a:r>
            <a:r>
              <a:rPr lang="en-US" dirty="0"/>
              <a:t> are interesting. What can you tell me about these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1596F-1878-46C0-9439-F5AABA79841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4056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nk You For Your Feedback – is this a general email sent to all patients post-visit?</a:t>
            </a:r>
          </a:p>
          <a:p>
            <a:r>
              <a:rPr lang="en-US" dirty="0"/>
              <a:t>What is the access-care-c19 email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1596F-1878-46C0-9439-F5AABA798414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75085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acebook far outperforms the other social networks in terms of conversions</a:t>
            </a:r>
            <a:br>
              <a:rPr lang="en-US" dirty="0"/>
            </a:br>
            <a:r>
              <a:rPr lang="en-US" dirty="0"/>
              <a:t>60 conversions for Facebook</a:t>
            </a:r>
          </a:p>
          <a:p>
            <a:r>
              <a:rPr lang="en-US" dirty="0"/>
              <a:t>1 for LinkedIn</a:t>
            </a:r>
          </a:p>
          <a:p>
            <a:r>
              <a:rPr lang="en-US" dirty="0"/>
              <a:t>3 for Yelp</a:t>
            </a:r>
          </a:p>
          <a:p>
            <a:r>
              <a:rPr lang="en-US" dirty="0"/>
              <a:t>1 for Snapcha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B1596F-1878-46C0-9439-F5AABA798414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404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7" Type="http://schemas.openxmlformats.org/officeDocument/2006/relationships/image" Target="../media/image6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0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1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7" Type="http://schemas.openxmlformats.org/officeDocument/2006/relationships/image" Target="../media/image6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sv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Relationship Id="rId9" Type="http://schemas.openxmlformats.org/officeDocument/2006/relationships/image" Target="../media/image18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8.sv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6.sv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8.sv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8.sv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8.sv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8.sv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10" Type="http://schemas.openxmlformats.org/officeDocument/2006/relationships/image" Target="../media/image18.svg"/><Relationship Id="rId4" Type="http://schemas.openxmlformats.org/officeDocument/2006/relationships/image" Target="../media/image14.svg"/><Relationship Id="rId9" Type="http://schemas.openxmlformats.org/officeDocument/2006/relationships/image" Target="../media/image17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image" Target="../media/image1.png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2.sv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sv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Relationship Id="rId9" Type="http://schemas.openxmlformats.org/officeDocument/2006/relationships/image" Target="../media/image18.sv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sv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Relationship Id="rId9" Type="http://schemas.openxmlformats.org/officeDocument/2006/relationships/image" Target="../media/image18.sv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1.bin"/><Relationship Id="rId7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2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2.svg"/><Relationship Id="rId7" Type="http://schemas.openxmlformats.org/officeDocument/2006/relationships/image" Target="../media/image6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Relationship Id="rId9" Type="http://schemas.openxmlformats.org/officeDocument/2006/relationships/image" Target="../media/image24.sv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2.svg"/><Relationship Id="rId7" Type="http://schemas.openxmlformats.org/officeDocument/2006/relationships/image" Target="../media/image6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Relationship Id="rId9" Type="http://schemas.openxmlformats.org/officeDocument/2006/relationships/image" Target="../media/image24.sv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10" Type="http://schemas.openxmlformats.org/officeDocument/2006/relationships/image" Target="../media/image24.svg"/><Relationship Id="rId4" Type="http://schemas.openxmlformats.org/officeDocument/2006/relationships/image" Target="../media/image2.svg"/><Relationship Id="rId9" Type="http://schemas.openxmlformats.org/officeDocument/2006/relationships/image" Target="../media/image23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26.bin"/><Relationship Id="rId7" Type="http://schemas.openxmlformats.org/officeDocument/2006/relationships/image" Target="../media/image30.svg"/><Relationship Id="rId2" Type="http://schemas.openxmlformats.org/officeDocument/2006/relationships/image" Target="../media/image25.bin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9.png"/><Relationship Id="rId5" Type="http://schemas.openxmlformats.org/officeDocument/2006/relationships/image" Target="../media/image28.svg"/><Relationship Id="rId4" Type="http://schemas.openxmlformats.org/officeDocument/2006/relationships/image" Target="../media/image27.png"/><Relationship Id="rId9" Type="http://schemas.openxmlformats.org/officeDocument/2006/relationships/image" Target="../media/image6.sv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26.bin"/><Relationship Id="rId7" Type="http://schemas.openxmlformats.org/officeDocument/2006/relationships/image" Target="../media/image30.svg"/><Relationship Id="rId2" Type="http://schemas.openxmlformats.org/officeDocument/2006/relationships/image" Target="../media/image25.bin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9.png"/><Relationship Id="rId5" Type="http://schemas.openxmlformats.org/officeDocument/2006/relationships/image" Target="../media/image28.svg"/><Relationship Id="rId4" Type="http://schemas.openxmlformats.org/officeDocument/2006/relationships/image" Target="../media/image27.png"/><Relationship Id="rId9" Type="http://schemas.openxmlformats.org/officeDocument/2006/relationships/image" Target="../media/image6.sv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25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10" Type="http://schemas.openxmlformats.org/officeDocument/2006/relationships/image" Target="../media/image30.svg"/><Relationship Id="rId4" Type="http://schemas.openxmlformats.org/officeDocument/2006/relationships/image" Target="../media/image26.bin"/><Relationship Id="rId9" Type="http://schemas.openxmlformats.org/officeDocument/2006/relationships/image" Target="../media/image29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svg"/><Relationship Id="rId4" Type="http://schemas.openxmlformats.org/officeDocument/2006/relationships/image" Target="../media/image1.png"/><Relationship Id="rId9" Type="http://schemas.openxmlformats.org/officeDocument/2006/relationships/image" Target="../media/image6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image" Target="../media/image1.png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8.bin"/><Relationship Id="rId5" Type="http://schemas.openxmlformats.org/officeDocument/2006/relationships/image" Target="../media/image7.bin"/><Relationship Id="rId10" Type="http://schemas.openxmlformats.org/officeDocument/2006/relationships/image" Target="../media/image6.svg"/><Relationship Id="rId4" Type="http://schemas.openxmlformats.org/officeDocument/2006/relationships/image" Target="../media/image2.svg"/><Relationship Id="rId9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image" Target="../media/image2.svg"/><Relationship Id="rId4" Type="http://schemas.openxmlformats.org/officeDocument/2006/relationships/image" Target="../media/image1.png"/><Relationship Id="rId9" Type="http://schemas.openxmlformats.org/officeDocument/2006/relationships/image" Target="../media/image4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HC Cover">
    <p:bg>
      <p:bgPr>
        <a:gradFill>
          <a:gsLst>
            <a:gs pos="0">
              <a:srgbClr val="95E8F0"/>
            </a:gs>
            <a:gs pos="100000">
              <a:srgbClr val="020249"/>
            </a:gs>
            <a:gs pos="83000">
              <a:srgbClr val="02126F"/>
            </a:gs>
            <a:gs pos="51000">
              <a:srgbClr val="0231BA"/>
            </a:gs>
            <a:gs pos="25000">
              <a:srgbClr val="29B6C2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FC3BDA5-444D-4453-A833-E6ECD1DA4E10}"/>
              </a:ext>
            </a:extLst>
          </p:cNvPr>
          <p:cNvSpPr/>
          <p:nvPr/>
        </p:nvSpPr>
        <p:spPr>
          <a:xfrm>
            <a:off x="152400" y="0"/>
            <a:ext cx="12039600" cy="6854249"/>
          </a:xfrm>
          <a:prstGeom prst="rect">
            <a:avLst/>
          </a:prstGeom>
          <a:gradFill flip="none" rotWithShape="1">
            <a:gsLst>
              <a:gs pos="0">
                <a:srgbClr val="B511D4"/>
              </a:gs>
              <a:gs pos="13000">
                <a:srgbClr val="7D0AA6">
                  <a:alpha val="90000"/>
                </a:srgbClr>
              </a:gs>
              <a:gs pos="56000">
                <a:srgbClr val="4DC7D1"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pc="-30" baseline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MHC-Particle-Ring-Vector">
            <a:extLst>
              <a:ext uri="{FF2B5EF4-FFF2-40B4-BE49-F238E27FC236}">
                <a16:creationId xmlns:a16="http://schemas.microsoft.com/office/drawing/2014/main" id="{8559C244-A7C9-463D-83FD-7AECB807095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1740" r="54838" b="29555"/>
          <a:stretch/>
        </p:blipFill>
        <p:spPr>
          <a:xfrm>
            <a:off x="3048001" y="0"/>
            <a:ext cx="9140058" cy="6857999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87D04E-DEBB-4690-ABC4-3DA39CB92E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801396-9DBA-4F4A-911F-971EC7426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76398"/>
            <a:ext cx="12188058" cy="3200400"/>
          </a:xfrm>
          <a:gradFill flip="none" rotWithShape="1">
            <a:gsLst>
              <a:gs pos="35000">
                <a:srgbClr val="022194">
                  <a:alpha val="90000"/>
                </a:srgbClr>
              </a:gs>
              <a:gs pos="0">
                <a:srgbClr val="02126F"/>
              </a:gs>
              <a:gs pos="100000">
                <a:srgbClr val="4DC7D1">
                  <a:alpha val="45000"/>
                </a:srgbClr>
              </a:gs>
            </a:gsLst>
            <a:lin ang="0" scaled="0"/>
            <a:tileRect/>
          </a:gradFill>
        </p:spPr>
        <p:txBody>
          <a:bodyPr lIns="548640" tIns="182880" rIns="548640" bIns="182880" anchor="ctr">
            <a:normAutofit/>
          </a:bodyPr>
          <a:lstStyle>
            <a:lvl1pPr>
              <a:defRPr lang="en-US" sz="4400" spc="-30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B5B4751-D81C-40EE-92E7-3325985E1E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599" y="4876798"/>
            <a:ext cx="8229599" cy="1295402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1600" spc="-30" baseline="0">
                <a:solidFill>
                  <a:srgbClr val="B9F9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D28EBE11-0341-4CC1-8AFA-887AB4DD8D5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6410" y="875017"/>
            <a:ext cx="2561604" cy="39638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DA690C35-1980-40B1-A917-E8643F8749B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0212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16="http://schemas.microsoft.com/office/drawing/2014/main" xmlns:a14="http://schemas.microsoft.com/office/drawing/2010/main" xmlns:asvg="http://schemas.microsoft.com/office/drawing/2016/SVG/main">
      <p:transition>
        <p:fade/>
      </p:transition>
    </mc:Fallback>
  </mc:AlternateContent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umn Content Blue">
    <p:bg>
      <p:bgPr>
        <a:gradFill>
          <a:gsLst>
            <a:gs pos="0">
              <a:srgbClr val="95E8F0"/>
            </a:gs>
            <a:gs pos="100000">
              <a:srgbClr val="020249"/>
            </a:gs>
            <a:gs pos="83000">
              <a:srgbClr val="02126F"/>
            </a:gs>
            <a:gs pos="51000">
              <a:srgbClr val="0231BA"/>
            </a:gs>
            <a:gs pos="25000">
              <a:srgbClr val="29B6C2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96273D12-BBE4-49A5-9128-213E045AECD8}"/>
              </a:ext>
            </a:extLst>
          </p:cNvPr>
          <p:cNvSpPr/>
          <p:nvPr/>
        </p:nvSpPr>
        <p:spPr>
          <a:xfrm>
            <a:off x="152400" y="0"/>
            <a:ext cx="12039600" cy="6854249"/>
          </a:xfrm>
          <a:prstGeom prst="rect">
            <a:avLst/>
          </a:prstGeom>
          <a:gradFill flip="none" rotWithShape="1">
            <a:gsLst>
              <a:gs pos="0">
                <a:srgbClr val="B511D4"/>
              </a:gs>
              <a:gs pos="13000">
                <a:srgbClr val="7D0AA6">
                  <a:alpha val="90000"/>
                </a:srgbClr>
              </a:gs>
              <a:gs pos="56000">
                <a:srgbClr val="4DC7D1"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pc="-30" baseline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0C8270C3-2FD7-4265-A67A-56E1AECA5B7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6287" y="6367577"/>
            <a:ext cx="1303737" cy="201739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BF6A20-D63D-448E-A3AD-E833D3779E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30" baseline="0">
                <a:solidFill>
                  <a:srgbClr val="B9F9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B664AB-8974-43E1-8D37-B02A84D60F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926A03-B73E-46B4-BD8A-363053B18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F44E7DB-EA8C-4671-9646-79F1D0601A4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09600" y="1428750"/>
            <a:ext cx="10972800" cy="4743450"/>
          </a:xfrm>
        </p:spPr>
        <p:txBody>
          <a:bodyPr lIns="0" tIns="0" rIns="0" bIns="0"/>
          <a:lstStyle>
            <a:lvl1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1E9A40D-A8B4-488C-9DDF-64776BA315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89856"/>
            <a:ext cx="10972800" cy="753143"/>
          </a:xfrm>
        </p:spPr>
        <p:txBody>
          <a:bodyPr/>
          <a:lstStyle>
            <a:lvl1pPr algn="l">
              <a:defRPr sz="2600" spc="-3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E9378B52-F3CD-4983-9072-3D9E71C42AD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0134600" y="6178248"/>
            <a:ext cx="2057400" cy="6797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37ABD018-ED1A-4CE5-B8BC-DC682DA8540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1A73164-1149-473F-A935-6EA43D52942E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45496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Content Blue">
    <p:bg>
      <p:bgPr>
        <a:gradFill>
          <a:gsLst>
            <a:gs pos="0">
              <a:srgbClr val="95E8F0"/>
            </a:gs>
            <a:gs pos="100000">
              <a:srgbClr val="020249"/>
            </a:gs>
            <a:gs pos="83000">
              <a:srgbClr val="02126F"/>
            </a:gs>
            <a:gs pos="51000">
              <a:srgbClr val="0231BA"/>
            </a:gs>
            <a:gs pos="25000">
              <a:srgbClr val="29B6C2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33D4291-5A05-4BDB-A6FD-200ABCE6FE25}"/>
              </a:ext>
            </a:extLst>
          </p:cNvPr>
          <p:cNvSpPr/>
          <p:nvPr/>
        </p:nvSpPr>
        <p:spPr>
          <a:xfrm>
            <a:off x="152400" y="0"/>
            <a:ext cx="12039600" cy="6854249"/>
          </a:xfrm>
          <a:prstGeom prst="rect">
            <a:avLst/>
          </a:prstGeom>
          <a:gradFill flip="none" rotWithShape="1">
            <a:gsLst>
              <a:gs pos="0">
                <a:srgbClr val="B511D4"/>
              </a:gs>
              <a:gs pos="13000">
                <a:srgbClr val="7D0AA6">
                  <a:alpha val="90000"/>
                </a:srgbClr>
              </a:gs>
              <a:gs pos="56000">
                <a:srgbClr val="4DC7D1"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pc="-30" baseline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BF6A20-D63D-448E-A3AD-E833D3779E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30" baseline="0">
                <a:solidFill>
                  <a:srgbClr val="B9F9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B664AB-8974-43E1-8D37-B02A84D60F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926A03-B73E-46B4-BD8A-363053B18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93C137B-D29B-4121-9ACE-67C4FDAC0B6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09600" y="1428750"/>
            <a:ext cx="5334000" cy="4743450"/>
          </a:xfrm>
        </p:spPr>
        <p:txBody>
          <a:bodyPr lIns="0" tIns="0" rIns="0" bIns="0">
            <a:noAutofit/>
          </a:bodyPr>
          <a:lstStyle>
            <a:lvl1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1CA1BC75-5A87-40F5-AF86-B59F8556507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0" y="1428750"/>
            <a:ext cx="5334000" cy="4743450"/>
          </a:xfrm>
        </p:spPr>
        <p:txBody>
          <a:bodyPr lIns="0" tIns="0" rIns="0" bIns="0">
            <a:noAutofit/>
          </a:bodyPr>
          <a:lstStyle>
            <a:lvl1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13F6D02-7260-4284-964C-AE4055785A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89856"/>
            <a:ext cx="10972800" cy="753143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00" b="1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854BD91-8B86-44F1-ADCF-038B37FFC9F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0134600" y="6178248"/>
            <a:ext cx="2057400" cy="6797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5299FA0A-E86B-4356-B3B9-8CBE7680743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6287" y="6367577"/>
            <a:ext cx="1303737" cy="201739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B5DFCFF7-7C04-4ED2-8CC3-E8F39EFD1B8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8C59672-5C22-4DA7-9489-D5F246FF14DB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03697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umn Content Blue">
    <p:bg>
      <p:bgPr>
        <a:gradFill>
          <a:gsLst>
            <a:gs pos="0">
              <a:srgbClr val="95E8F0"/>
            </a:gs>
            <a:gs pos="100000">
              <a:srgbClr val="020249"/>
            </a:gs>
            <a:gs pos="83000">
              <a:srgbClr val="02126F"/>
            </a:gs>
            <a:gs pos="51000">
              <a:srgbClr val="0231BA"/>
            </a:gs>
            <a:gs pos="25000">
              <a:srgbClr val="29B6C2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D1D1823D-E7E4-4967-BFDA-BE3E0F9E1EC2}"/>
              </a:ext>
            </a:extLst>
          </p:cNvPr>
          <p:cNvSpPr/>
          <p:nvPr/>
        </p:nvSpPr>
        <p:spPr>
          <a:xfrm>
            <a:off x="152400" y="0"/>
            <a:ext cx="12039600" cy="6854249"/>
          </a:xfrm>
          <a:prstGeom prst="rect">
            <a:avLst/>
          </a:prstGeom>
          <a:gradFill flip="none" rotWithShape="1">
            <a:gsLst>
              <a:gs pos="0">
                <a:srgbClr val="B511D4"/>
              </a:gs>
              <a:gs pos="13000">
                <a:srgbClr val="7D0AA6">
                  <a:alpha val="90000"/>
                </a:srgbClr>
              </a:gs>
              <a:gs pos="56000">
                <a:srgbClr val="4DC7D1"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pc="-30" baseline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BF6A20-D63D-448E-A3AD-E833D3779E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30" baseline="0">
                <a:solidFill>
                  <a:srgbClr val="B9F9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B664AB-8974-43E1-8D37-B02A84D60F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926A03-B73E-46B4-BD8A-363053B18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465BDA-7366-43BA-9042-731FF5EE41F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09600" y="1428750"/>
            <a:ext cx="3505200" cy="4743450"/>
          </a:xfrm>
        </p:spPr>
        <p:txBody>
          <a:bodyPr lIns="0" tIns="0" rIns="0" bIns="0">
            <a:noAutofit/>
          </a:bodyPr>
          <a:lstStyle>
            <a:lvl1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311A951E-74DA-4C08-B941-E73DC7F5681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67200" y="1428750"/>
            <a:ext cx="3505200" cy="4743450"/>
          </a:xfrm>
        </p:spPr>
        <p:txBody>
          <a:bodyPr lIns="0" tIns="0" rIns="0" bIns="0">
            <a:noAutofit/>
          </a:bodyPr>
          <a:lstStyle>
            <a:lvl1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E8568AE5-57B2-4C23-B5F3-8B435ABCE01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924800" y="1428750"/>
            <a:ext cx="3505200" cy="4743450"/>
          </a:xfrm>
        </p:spPr>
        <p:txBody>
          <a:bodyPr lIns="0" tIns="0" rIns="0" bIns="0">
            <a:noAutofit/>
          </a:bodyPr>
          <a:lstStyle>
            <a:lvl1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4F0FDF4-BF8B-455A-9368-DE0089331C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89856"/>
            <a:ext cx="10972800" cy="753143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00" b="1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2BF20BFF-9DC9-4565-ACFC-81A644D3641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0134600" y="6178248"/>
            <a:ext cx="2057400" cy="6797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53C68028-6ADA-4B3A-B370-C6C22C3CA4B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6287" y="6367577"/>
            <a:ext cx="1303737" cy="201739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4D99DF1A-7A8C-4F0D-A698-FD4C47EFF6D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191499E1-BF71-475D-8CE5-D9E4DBB82B6C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39105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Column Content Blue">
    <p:bg>
      <p:bgPr>
        <a:gradFill>
          <a:gsLst>
            <a:gs pos="0">
              <a:srgbClr val="95E8F0"/>
            </a:gs>
            <a:gs pos="100000">
              <a:srgbClr val="020249"/>
            </a:gs>
            <a:gs pos="83000">
              <a:srgbClr val="02126F"/>
            </a:gs>
            <a:gs pos="51000">
              <a:srgbClr val="0231BA"/>
            </a:gs>
            <a:gs pos="25000">
              <a:srgbClr val="29B6C2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D643A03E-E7F6-4C01-9FB1-285C81C4CCFB}"/>
              </a:ext>
            </a:extLst>
          </p:cNvPr>
          <p:cNvSpPr/>
          <p:nvPr/>
        </p:nvSpPr>
        <p:spPr>
          <a:xfrm>
            <a:off x="152400" y="0"/>
            <a:ext cx="12039600" cy="6854249"/>
          </a:xfrm>
          <a:prstGeom prst="rect">
            <a:avLst/>
          </a:prstGeom>
          <a:gradFill flip="none" rotWithShape="1">
            <a:gsLst>
              <a:gs pos="0">
                <a:srgbClr val="B511D4"/>
              </a:gs>
              <a:gs pos="13000">
                <a:srgbClr val="7D0AA6">
                  <a:alpha val="90000"/>
                </a:srgbClr>
              </a:gs>
              <a:gs pos="56000">
                <a:srgbClr val="4DC7D1"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pc="-30" baseline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BF6A20-D63D-448E-A3AD-E833D3779E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30" baseline="0">
                <a:solidFill>
                  <a:srgbClr val="B9F9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B664AB-8974-43E1-8D37-B02A84D60F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926A03-B73E-46B4-BD8A-363053B18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7FE5151-F128-497D-9460-5DE01B71660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09600" y="1428750"/>
            <a:ext cx="2590800" cy="4743450"/>
          </a:xfrm>
        </p:spPr>
        <p:txBody>
          <a:bodyPr lIns="0" tIns="0" rIns="0" bIns="0">
            <a:noAutofit/>
          </a:bodyPr>
          <a:lstStyle>
            <a:lvl1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A9C49D0-6709-4481-982A-21FF03196F7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352800" y="1428750"/>
            <a:ext cx="2590800" cy="4743450"/>
          </a:xfrm>
        </p:spPr>
        <p:txBody>
          <a:bodyPr lIns="0" tIns="0" rIns="0" bIns="0">
            <a:noAutofit/>
          </a:bodyPr>
          <a:lstStyle>
            <a:lvl1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8AB6C74F-5437-4259-9AA0-ED32907235D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096000" y="1428750"/>
            <a:ext cx="2590800" cy="4743450"/>
          </a:xfrm>
        </p:spPr>
        <p:txBody>
          <a:bodyPr lIns="0" tIns="0" rIns="0" bIns="0">
            <a:noAutofit/>
          </a:bodyPr>
          <a:lstStyle>
            <a:lvl1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ACA877C4-B8E2-47F2-A797-00CE9425267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839200" y="1428750"/>
            <a:ext cx="2590800" cy="4743450"/>
          </a:xfrm>
        </p:spPr>
        <p:txBody>
          <a:bodyPr lIns="0" tIns="0" rIns="0" bIns="0">
            <a:noAutofit/>
          </a:bodyPr>
          <a:lstStyle>
            <a:lvl1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pc="-30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9EA0F79-D4FF-4CB3-AC55-BB714FCD8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89856"/>
            <a:ext cx="10972800" cy="753143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00" b="1" kern="1200" spc="-30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5FA79D7-01F5-4C1F-B4B8-00FA51F47CC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0134600" y="6178248"/>
            <a:ext cx="2057400" cy="6797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C5F2D434-E9B1-4898-BE44-AF805B5E491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6287" y="6367577"/>
            <a:ext cx="1303737" cy="201739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04905366-3F65-4C47-BCD1-28AB592B33E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DEA5D3B5-329D-4543-A022-98470F7AF564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24499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lue Circles, Option 1">
    <p:bg>
      <p:bgPr>
        <a:gradFill>
          <a:gsLst>
            <a:gs pos="0">
              <a:srgbClr val="95E8F0"/>
            </a:gs>
            <a:gs pos="100000">
              <a:srgbClr val="020249"/>
            </a:gs>
            <a:gs pos="83000">
              <a:srgbClr val="02126F"/>
            </a:gs>
            <a:gs pos="51000">
              <a:srgbClr val="0231BA"/>
            </a:gs>
            <a:gs pos="25000">
              <a:srgbClr val="29B6C2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E605BA70-F3F1-41A9-A99D-B63420D0D551}"/>
              </a:ext>
            </a:extLst>
          </p:cNvPr>
          <p:cNvSpPr/>
          <p:nvPr/>
        </p:nvSpPr>
        <p:spPr>
          <a:xfrm>
            <a:off x="152400" y="0"/>
            <a:ext cx="12039600" cy="6854249"/>
          </a:xfrm>
          <a:prstGeom prst="rect">
            <a:avLst/>
          </a:prstGeom>
          <a:gradFill flip="none" rotWithShape="1">
            <a:gsLst>
              <a:gs pos="0">
                <a:srgbClr val="B511D4"/>
              </a:gs>
              <a:gs pos="13000">
                <a:srgbClr val="7D0AA6">
                  <a:alpha val="90000"/>
                </a:srgbClr>
              </a:gs>
              <a:gs pos="56000">
                <a:srgbClr val="4DC7D1"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pc="-30" baseline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4123CBF-C372-4EF8-8442-9EB35191887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</p:spPr>
        <p:txBody>
          <a:bodyPr lIns="8229600" rIns="457200" anchor="ctr"/>
          <a:lstStyle>
            <a:lvl1pPr algn="r"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insert a background image</a:t>
            </a:r>
          </a:p>
          <a:p>
            <a:r>
              <a:rPr lang="en-US" dirty="0"/>
              <a:t>Move the blue circles as needed to work with the background image (do not cover faces, etc.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34E608-60FB-498C-B4AC-D0D2292DC0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 sz="2600" spc="-3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optional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5BBE7-3738-432A-8A3F-D9AF848EE1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61F1FE-E5D1-4F8A-B9F5-CC72C3C562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065964B-110E-41AB-9960-156E6BDA71DB}"/>
              </a:ext>
            </a:extLst>
          </p:cNvPr>
          <p:cNvSpPr>
            <a:spLocks noGrp="1" noChangeAspect="1"/>
          </p:cNvSpPr>
          <p:nvPr>
            <p:ph type="body" sz="quarter" idx="17"/>
          </p:nvPr>
        </p:nvSpPr>
        <p:spPr>
          <a:xfrm>
            <a:off x="609600" y="1828800"/>
            <a:ext cx="3200400" cy="3200400"/>
          </a:xfrm>
          <a:prstGeom prst="ellipse">
            <a:avLst/>
          </a:prstGeom>
          <a:solidFill>
            <a:srgbClr val="0202EA">
              <a:alpha val="85000"/>
            </a:srgbClr>
          </a:solidFill>
        </p:spPr>
        <p:txBody>
          <a:bodyPr lIns="91440" tIns="91440" rIns="91440" bIns="91440" anchor="ctr">
            <a:normAutofit/>
          </a:bodyPr>
          <a:lstStyle>
            <a:lvl1pPr marL="0" indent="0" algn="ctr">
              <a:buNone/>
              <a:defRPr sz="3200" b="1"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ctr">
              <a:buNone/>
              <a:defRPr sz="2800" spc="-3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 algn="ctr">
              <a:buNone/>
              <a:defRPr sz="2400" spc="-3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 algn="ctr">
              <a:buNone/>
              <a:defRPr sz="2000" spc="-3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 algn="ctr">
              <a:buNone/>
              <a:defRPr sz="2000" spc="-30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E351B2EC-1516-4D5D-B768-B87A74A2EBED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3962400" y="3211122"/>
            <a:ext cx="2971800" cy="2971800"/>
          </a:xfrm>
          <a:prstGeom prst="ellipse">
            <a:avLst/>
          </a:prstGeom>
          <a:solidFill>
            <a:srgbClr val="0202EA">
              <a:alpha val="85000"/>
            </a:srgbClr>
          </a:solidFill>
        </p:spPr>
        <p:txBody>
          <a:bodyPr lIns="91440" tIns="91440" rIns="91440" bIns="91440" anchor="ctr">
            <a:normAutofit/>
          </a:bodyPr>
          <a:lstStyle>
            <a:lvl1pPr marL="0" indent="0" algn="ctr">
              <a:buNone/>
              <a:defRPr sz="3200" b="1"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ctr">
              <a:buNone/>
              <a:defRPr sz="2800" spc="-3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 algn="ctr">
              <a:buNone/>
              <a:defRPr sz="2400" spc="-3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 algn="ctr">
              <a:buNone/>
              <a:defRPr sz="2000" spc="-3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 algn="ctr">
              <a:buNone/>
              <a:defRPr sz="2000" spc="-30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0865D94C-EDE4-4AF0-9F63-5D40E42420C7}"/>
              </a:ext>
            </a:extLst>
          </p:cNvPr>
          <p:cNvSpPr>
            <a:spLocks noGrp="1" noChangeAspect="1"/>
          </p:cNvSpPr>
          <p:nvPr>
            <p:ph type="body" sz="quarter" idx="19"/>
          </p:nvPr>
        </p:nvSpPr>
        <p:spPr>
          <a:xfrm>
            <a:off x="6460918" y="1428750"/>
            <a:ext cx="2743200" cy="2743200"/>
          </a:xfrm>
          <a:prstGeom prst="ellipse">
            <a:avLst/>
          </a:prstGeom>
          <a:solidFill>
            <a:srgbClr val="0202EA">
              <a:alpha val="85000"/>
            </a:srgbClr>
          </a:solidFill>
        </p:spPr>
        <p:txBody>
          <a:bodyPr lIns="91440" tIns="91440" rIns="91440" bIns="91440" anchor="ctr">
            <a:normAutofit/>
          </a:bodyPr>
          <a:lstStyle>
            <a:lvl1pPr marL="0" indent="0" algn="ctr">
              <a:buNone/>
              <a:defRPr sz="3200" b="1"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ctr">
              <a:buNone/>
              <a:defRPr sz="2800" spc="-3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 algn="ctr">
              <a:buNone/>
              <a:defRPr sz="2400" spc="-3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 algn="ctr">
              <a:buNone/>
              <a:defRPr sz="2000" spc="-3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 algn="ctr">
              <a:buNone/>
              <a:defRPr sz="2000" spc="-30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AB81ADB1-9381-4FB8-A99C-ECD1DCE50E4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6287" y="6367577"/>
            <a:ext cx="1303737" cy="201739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D0C7F3C8-5D2D-48B0-82D2-75C71B30F92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AA8720F-A499-4612-B3F6-2A5138A3987E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27639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lue Circles, Option 2">
    <p:bg>
      <p:bgPr>
        <a:gradFill>
          <a:gsLst>
            <a:gs pos="0">
              <a:srgbClr val="95E8F0"/>
            </a:gs>
            <a:gs pos="100000">
              <a:srgbClr val="020249"/>
            </a:gs>
            <a:gs pos="83000">
              <a:srgbClr val="02126F"/>
            </a:gs>
            <a:gs pos="51000">
              <a:srgbClr val="0231BA"/>
            </a:gs>
            <a:gs pos="25000">
              <a:srgbClr val="29B6C2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9C1CC12-A1D0-4CC1-8613-F5B064958089}"/>
              </a:ext>
            </a:extLst>
          </p:cNvPr>
          <p:cNvSpPr/>
          <p:nvPr/>
        </p:nvSpPr>
        <p:spPr>
          <a:xfrm>
            <a:off x="152400" y="0"/>
            <a:ext cx="12039600" cy="6854249"/>
          </a:xfrm>
          <a:prstGeom prst="rect">
            <a:avLst/>
          </a:prstGeom>
          <a:gradFill flip="none" rotWithShape="1">
            <a:gsLst>
              <a:gs pos="0">
                <a:srgbClr val="B511D4"/>
              </a:gs>
              <a:gs pos="13000">
                <a:srgbClr val="7D0AA6">
                  <a:alpha val="90000"/>
                </a:srgbClr>
              </a:gs>
              <a:gs pos="56000">
                <a:srgbClr val="4DC7D1"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pc="-30" baseline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658B25B-4153-47F8-89C6-4980240F3B3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6287" y="6367577"/>
            <a:ext cx="1303737" cy="201739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D4123CBF-C372-4EF8-8442-9EB35191887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</p:spPr>
        <p:txBody>
          <a:bodyPr lIns="0" tIns="0" rIns="0" bIns="182880" anchor="b"/>
          <a:lstStyle>
            <a:lvl1pPr algn="ctr"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insert a background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34E608-60FB-498C-B4AC-D0D2292DC0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 sz="2600" spc="-3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optional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5BBE7-3738-432A-8A3F-D9AF848EE1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61F1FE-E5D1-4F8A-B9F5-CC72C3C562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065964B-110E-41AB-9960-156E6BDA71DB}"/>
              </a:ext>
            </a:extLst>
          </p:cNvPr>
          <p:cNvSpPr>
            <a:spLocks noGrp="1" noChangeAspect="1"/>
          </p:cNvSpPr>
          <p:nvPr>
            <p:ph type="body" sz="quarter" idx="17"/>
          </p:nvPr>
        </p:nvSpPr>
        <p:spPr>
          <a:xfrm>
            <a:off x="792051" y="2163651"/>
            <a:ext cx="2835498" cy="2835498"/>
          </a:xfrm>
          <a:prstGeom prst="ellipse">
            <a:avLst/>
          </a:prstGeom>
          <a:solidFill>
            <a:srgbClr val="0202EA">
              <a:alpha val="85000"/>
            </a:srgbClr>
          </a:solidFill>
        </p:spPr>
        <p:txBody>
          <a:bodyPr lIns="91440" tIns="91440" rIns="91440" bIns="91440" anchor="ctr">
            <a:normAutofit/>
          </a:bodyPr>
          <a:lstStyle>
            <a:lvl1pPr marL="0" indent="0" algn="ctr">
              <a:buNone/>
              <a:defRPr sz="3200" b="1"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ctr">
              <a:buNone/>
              <a:defRPr sz="2800" spc="-3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 algn="ctr">
              <a:buNone/>
              <a:defRPr sz="2400" spc="-3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 algn="ctr">
              <a:buNone/>
              <a:defRPr sz="2000" spc="-3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 algn="ctr">
              <a:buNone/>
              <a:defRPr sz="2000" spc="-30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E351B2EC-1516-4D5D-B768-B87A74A2EBED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4678251" y="2163651"/>
            <a:ext cx="2835498" cy="2835498"/>
          </a:xfrm>
          <a:prstGeom prst="ellipse">
            <a:avLst/>
          </a:prstGeom>
          <a:solidFill>
            <a:srgbClr val="0202EA">
              <a:alpha val="85000"/>
            </a:srgbClr>
          </a:solidFill>
        </p:spPr>
        <p:txBody>
          <a:bodyPr lIns="91440" tIns="91440" rIns="91440" bIns="91440" anchor="ctr">
            <a:normAutofit/>
          </a:bodyPr>
          <a:lstStyle>
            <a:lvl1pPr marL="0" indent="0" algn="ctr">
              <a:buNone/>
              <a:defRPr sz="3200" b="1"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ctr">
              <a:buNone/>
              <a:defRPr sz="2800" spc="-3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 algn="ctr">
              <a:buNone/>
              <a:defRPr sz="2400" spc="-3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 algn="ctr">
              <a:buNone/>
              <a:defRPr sz="2000" spc="-3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 algn="ctr">
              <a:buNone/>
              <a:defRPr sz="2000" spc="-30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0865D94C-EDE4-4AF0-9F63-5D40E42420C7}"/>
              </a:ext>
            </a:extLst>
          </p:cNvPr>
          <p:cNvSpPr>
            <a:spLocks noGrp="1" noChangeAspect="1"/>
          </p:cNvSpPr>
          <p:nvPr>
            <p:ph type="body" sz="quarter" idx="19"/>
          </p:nvPr>
        </p:nvSpPr>
        <p:spPr>
          <a:xfrm>
            <a:off x="8564451" y="2163651"/>
            <a:ext cx="2835498" cy="2835498"/>
          </a:xfrm>
          <a:prstGeom prst="ellipse">
            <a:avLst/>
          </a:prstGeom>
          <a:solidFill>
            <a:srgbClr val="0202EA">
              <a:alpha val="85000"/>
            </a:srgbClr>
          </a:solidFill>
        </p:spPr>
        <p:txBody>
          <a:bodyPr lIns="91440" tIns="91440" rIns="91440" bIns="91440" anchor="ctr">
            <a:normAutofit/>
          </a:bodyPr>
          <a:lstStyle>
            <a:lvl1pPr marL="0" indent="0" algn="ctr">
              <a:buNone/>
              <a:defRPr sz="3200" b="1"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ctr">
              <a:buNone/>
              <a:defRPr sz="2800" spc="-3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 algn="ctr">
              <a:buNone/>
              <a:defRPr sz="2400" spc="-3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 algn="ctr">
              <a:buNone/>
              <a:defRPr sz="2000" spc="-3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 algn="ctr">
              <a:buNone/>
              <a:defRPr sz="2000" spc="-30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9372E9A0-CD90-4171-8073-20AF18C6113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08A73B8-5545-49E7-87A6-8331DC2F310C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70135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ue">
    <p:bg>
      <p:bgPr>
        <a:gradFill>
          <a:gsLst>
            <a:gs pos="0">
              <a:srgbClr val="95E8F0"/>
            </a:gs>
            <a:gs pos="100000">
              <a:srgbClr val="020249"/>
            </a:gs>
            <a:gs pos="83000">
              <a:srgbClr val="02126F"/>
            </a:gs>
            <a:gs pos="51000">
              <a:srgbClr val="0231BA"/>
            </a:gs>
            <a:gs pos="25000">
              <a:srgbClr val="29B6C2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F5E5CF24-DD22-4723-9185-7726D7D02937}"/>
              </a:ext>
            </a:extLst>
          </p:cNvPr>
          <p:cNvSpPr/>
          <p:nvPr/>
        </p:nvSpPr>
        <p:spPr>
          <a:xfrm>
            <a:off x="152400" y="0"/>
            <a:ext cx="12039600" cy="6854249"/>
          </a:xfrm>
          <a:prstGeom prst="rect">
            <a:avLst/>
          </a:prstGeom>
          <a:gradFill flip="none" rotWithShape="1">
            <a:gsLst>
              <a:gs pos="0">
                <a:srgbClr val="B511D4"/>
              </a:gs>
              <a:gs pos="13000">
                <a:srgbClr val="7D0AA6">
                  <a:alpha val="90000"/>
                </a:srgbClr>
              </a:gs>
              <a:gs pos="56000">
                <a:srgbClr val="4DC7D1"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pc="-30" baseline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FBC64E4-B78B-49A3-8FB7-BB7AFA167D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5685" y="883920"/>
            <a:ext cx="1085850" cy="91440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F8732BE-5967-4112-97E6-6D511847F6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30" baseline="0">
                <a:solidFill>
                  <a:srgbClr val="B9F9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F8E7C5-8999-4043-A848-AEEC710665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6E6E70-F427-4A88-9D31-F0B2D4E2F0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4360F2-1EC9-4589-A372-567336DD73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52600" y="1143000"/>
            <a:ext cx="8695764" cy="4114800"/>
          </a:xfrm>
          <a:noFill/>
        </p:spPr>
        <p:txBody>
          <a:bodyPr lIns="0" tIns="0" rIns="0" bIns="0" anchor="ctr">
            <a:normAutofit/>
          </a:bodyPr>
          <a:lstStyle>
            <a:lvl1pPr algn="l">
              <a:defRPr sz="6000" b="0" i="1">
                <a:ln w="6350">
                  <a:noFill/>
                  <a:prstDash val="solid"/>
                </a:ln>
                <a:solidFill>
                  <a:schemeClr val="tx1"/>
                </a:solidFill>
                <a:effectLst/>
                <a:latin typeface="Georgia" panose="02040502050405020303" pitchFamily="18" charset="0"/>
              </a:defRPr>
            </a:lvl1pPr>
          </a:lstStyle>
          <a:p>
            <a:r>
              <a:rPr lang="en-US" dirty="0"/>
              <a:t>Click to edit quote tex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AEB494A-1571-48DB-B0BE-B2A49A873C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52600" y="5334000"/>
            <a:ext cx="7543800" cy="844550"/>
          </a:xfrm>
        </p:spPr>
        <p:txBody>
          <a:bodyPr anchor="ctr"/>
          <a:lstStyle>
            <a:lvl1pPr marL="0" indent="0">
              <a:buNone/>
              <a:defRPr spc="-30" baseline="0">
                <a:solidFill>
                  <a:srgbClr val="95E8F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quote attribution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162A4DB5-4357-4839-8FC7-D1108CB440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00000">
            <a:off x="10509429" y="5257800"/>
            <a:ext cx="1085850" cy="9144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42A45418-477E-43D0-9A26-96A756308AC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6287" y="6367577"/>
            <a:ext cx="1303737" cy="201739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251861EE-57C7-4AEE-848F-ADBCBE443C2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403A4D4-1C21-4DF8-9DD3-09757966ED98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26673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Statement Blue">
    <p:bg>
      <p:bgPr>
        <a:gradFill>
          <a:gsLst>
            <a:gs pos="0">
              <a:srgbClr val="95E8F0"/>
            </a:gs>
            <a:gs pos="100000">
              <a:srgbClr val="020249"/>
            </a:gs>
            <a:gs pos="83000">
              <a:srgbClr val="02126F"/>
            </a:gs>
            <a:gs pos="51000">
              <a:srgbClr val="0231BA"/>
            </a:gs>
            <a:gs pos="25000">
              <a:srgbClr val="29B6C2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E1093FC-B3C4-4BDB-B160-5DFAE277E914}"/>
              </a:ext>
            </a:extLst>
          </p:cNvPr>
          <p:cNvSpPr/>
          <p:nvPr/>
        </p:nvSpPr>
        <p:spPr>
          <a:xfrm>
            <a:off x="152400" y="0"/>
            <a:ext cx="12039600" cy="6854249"/>
          </a:xfrm>
          <a:prstGeom prst="rect">
            <a:avLst/>
          </a:prstGeom>
          <a:gradFill flip="none" rotWithShape="1">
            <a:gsLst>
              <a:gs pos="0">
                <a:srgbClr val="B511D4"/>
              </a:gs>
              <a:gs pos="13000">
                <a:srgbClr val="7D0AA6">
                  <a:alpha val="90000"/>
                </a:srgbClr>
              </a:gs>
              <a:gs pos="56000">
                <a:srgbClr val="4DC7D1"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pc="-30" baseline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E71858-C861-4BA8-8210-69D7B7C458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30" baseline="0">
                <a:solidFill>
                  <a:srgbClr val="B9F9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9D616D-84C8-4906-9D82-A42161529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CDB39B-57C8-4AA4-9DB1-07D1FFFB62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5099A965-7CA1-4FF7-BE3B-8BCAD84E0C3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0134600" y="6178248"/>
            <a:ext cx="2057400" cy="6797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4EC747A-451E-484A-A58D-FA83C6121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143000"/>
            <a:ext cx="3200400" cy="2743200"/>
          </a:xfrm>
        </p:spPr>
        <p:txBody>
          <a:bodyPr anchor="t"/>
          <a:lstStyle>
            <a:lvl1pPr>
              <a:defRPr sz="2800" spc="-3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4BA06D5E-4AAA-4162-A54D-935A1CF1D52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114800" y="1143000"/>
            <a:ext cx="7010400" cy="4572000"/>
          </a:xfrm>
        </p:spPr>
        <p:txBody>
          <a:bodyPr>
            <a:normAutofit/>
          </a:bodyPr>
          <a:lstStyle>
            <a:lvl1pPr marL="0" indent="0">
              <a:buNone/>
              <a:defRPr sz="4800" i="1">
                <a:latin typeface="Georgia" panose="02040502050405020303" pitchFamily="18" charset="0"/>
              </a:defRPr>
            </a:lvl1pPr>
            <a:lvl2pPr marL="230188" indent="0">
              <a:buNone/>
              <a:defRPr sz="4400" i="1">
                <a:latin typeface="Georgia" panose="02040502050405020303" pitchFamily="18" charset="0"/>
              </a:defRPr>
            </a:lvl2pPr>
            <a:lvl3pPr marL="458788" indent="0">
              <a:buNone/>
              <a:defRPr sz="4000" i="1">
                <a:latin typeface="Georgia" panose="02040502050405020303" pitchFamily="18" charset="0"/>
              </a:defRPr>
            </a:lvl3pPr>
            <a:lvl4pPr marL="688975" indent="0">
              <a:buNone/>
              <a:defRPr sz="3600" i="1">
                <a:latin typeface="Georgia" panose="02040502050405020303" pitchFamily="18" charset="0"/>
              </a:defRPr>
            </a:lvl4pPr>
            <a:lvl5pPr marL="917575" indent="0">
              <a:buNone/>
              <a:defRPr sz="3600" i="1">
                <a:latin typeface="Georgia" panose="02040502050405020303" pitchFamily="18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3A78C1A4-3A7C-411A-8517-DE837991F0D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6287" y="6367577"/>
            <a:ext cx="1303737" cy="201739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DF6AABA5-42A4-43ED-9417-07B0AC3D42B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66BA637-1B93-4879-AD51-03F043190D62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42526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Text Blue">
    <p:bg>
      <p:bgPr>
        <a:gradFill>
          <a:gsLst>
            <a:gs pos="0">
              <a:srgbClr val="95E8F0"/>
            </a:gs>
            <a:gs pos="100000">
              <a:srgbClr val="020249"/>
            </a:gs>
            <a:gs pos="83000">
              <a:srgbClr val="02126F"/>
            </a:gs>
            <a:gs pos="51000">
              <a:srgbClr val="0231BA"/>
            </a:gs>
            <a:gs pos="25000">
              <a:srgbClr val="29B6C2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6C06B1F-72CC-4445-8106-AD137CBFAB92}"/>
              </a:ext>
            </a:extLst>
          </p:cNvPr>
          <p:cNvSpPr/>
          <p:nvPr/>
        </p:nvSpPr>
        <p:spPr>
          <a:xfrm>
            <a:off x="152400" y="0"/>
            <a:ext cx="12039600" cy="6854249"/>
          </a:xfrm>
          <a:prstGeom prst="rect">
            <a:avLst/>
          </a:prstGeom>
          <a:gradFill flip="none" rotWithShape="1">
            <a:gsLst>
              <a:gs pos="0">
                <a:srgbClr val="B511D4"/>
              </a:gs>
              <a:gs pos="13000">
                <a:srgbClr val="7D0AA6">
                  <a:alpha val="90000"/>
                </a:srgbClr>
              </a:gs>
              <a:gs pos="56000">
                <a:srgbClr val="4DC7D1"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pc="-30" baseline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F10510-D11D-45A9-9778-D18F5D6D16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143000"/>
            <a:ext cx="10972800" cy="4572000"/>
          </a:xfrm>
        </p:spPr>
        <p:txBody>
          <a:bodyPr anchor="ctr">
            <a:normAutofit/>
          </a:bodyPr>
          <a:lstStyle>
            <a:lvl1pPr algn="ctr">
              <a:defRPr lang="en-US" sz="5400" b="0" i="1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E71858-C861-4BA8-8210-69D7B7C458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30" baseline="0">
                <a:solidFill>
                  <a:srgbClr val="B9F9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9D616D-84C8-4906-9D82-A42161529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CDB39B-57C8-4AA4-9DB1-07D1FFFB62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AEBFA0AD-09AC-4726-890B-40A09ED672B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0134600" y="6178248"/>
            <a:ext cx="2057400" cy="6797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B783357-3744-43AA-A122-188872E04A4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6287" y="6367577"/>
            <a:ext cx="1303737" cy="201739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10D1E87F-41B2-45EF-9767-656E95134D1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BA542A59-42A8-4182-A57A-3F6CE47CCC18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68098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Product Shot Laptop">
    <p:bg>
      <p:bgPr>
        <a:gradFill>
          <a:gsLst>
            <a:gs pos="0">
              <a:srgbClr val="95E8F0"/>
            </a:gs>
            <a:gs pos="100000">
              <a:srgbClr val="020249"/>
            </a:gs>
            <a:gs pos="83000">
              <a:srgbClr val="02126F"/>
            </a:gs>
            <a:gs pos="51000">
              <a:srgbClr val="0231BA"/>
            </a:gs>
            <a:gs pos="25000">
              <a:srgbClr val="29B6C2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lue Background">
            <a:extLst>
              <a:ext uri="{FF2B5EF4-FFF2-40B4-BE49-F238E27FC236}">
                <a16:creationId xmlns:a16="http://schemas.microsoft.com/office/drawing/2014/main" id="{65C7582C-ED04-42C5-ACF7-580C24157C5A}"/>
              </a:ext>
            </a:extLst>
          </p:cNvPr>
          <p:cNvSpPr/>
          <p:nvPr/>
        </p:nvSpPr>
        <p:spPr>
          <a:xfrm>
            <a:off x="0" y="5889046"/>
            <a:ext cx="12192000" cy="968954"/>
          </a:xfrm>
          <a:prstGeom prst="rect">
            <a:avLst/>
          </a:prstGeom>
          <a:solidFill>
            <a:srgbClr val="02126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spc="-30" baseline="0">
              <a:solidFill>
                <a:schemeClr val="lt1"/>
              </a:solidFill>
              <a:latin typeface="Arial" panose="020B0604020202020204" pitchFamily="34" charset="0"/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7166C28-E4B0-461F-AEAC-55361D954424}"/>
              </a:ext>
            </a:extLst>
          </p:cNvPr>
          <p:cNvSpPr/>
          <p:nvPr/>
        </p:nvSpPr>
        <p:spPr>
          <a:xfrm>
            <a:off x="152400" y="0"/>
            <a:ext cx="12039600" cy="6854249"/>
          </a:xfrm>
          <a:prstGeom prst="rect">
            <a:avLst/>
          </a:prstGeom>
          <a:gradFill flip="none" rotWithShape="1">
            <a:gsLst>
              <a:gs pos="0">
                <a:srgbClr val="B511D4"/>
              </a:gs>
              <a:gs pos="13000">
                <a:srgbClr val="7D0AA6">
                  <a:alpha val="90000"/>
                </a:srgbClr>
              </a:gs>
              <a:gs pos="56000">
                <a:srgbClr val="4DC7D1"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pc="-30" baseline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62AD10-F117-4D71-A505-D5BEA4052E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533400"/>
            <a:ext cx="3504747" cy="1600200"/>
          </a:xfrm>
        </p:spPr>
        <p:txBody>
          <a:bodyPr anchor="ctr"/>
          <a:lstStyle>
            <a:lvl1pPr>
              <a:defRPr spc="-3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0F181D-3104-4CD3-86CC-A3E03075E6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30" baseline="0">
                <a:solidFill>
                  <a:srgbClr val="B9F9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943E8B-D077-4E00-9464-2E61FC358F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3D5E59-CAF6-4FFE-A7F8-4B69C0C97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3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76186843-CD28-4DE8-A37B-6C0E06A9A45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2618"/>
          <a:stretch/>
        </p:blipFill>
        <p:spPr>
          <a:xfrm>
            <a:off x="3335854" y="533399"/>
            <a:ext cx="8856146" cy="6004367"/>
          </a:xfrm>
          <a:prstGeom prst="rect">
            <a:avLst/>
          </a:prstGeom>
        </p:spPr>
      </p:pic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DA506ED1-8DC5-4EA7-A0C3-6FA1426AAB4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04838" y="2209800"/>
            <a:ext cx="3509962" cy="3428999"/>
          </a:xfrm>
        </p:spPr>
        <p:txBody>
          <a:bodyPr anchor="ctr"/>
          <a:lstStyle>
            <a:lvl1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B323B00C-96FB-4081-B8B9-D8A0249853F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35407" y="928048"/>
            <a:ext cx="7552044" cy="4804012"/>
          </a:xfrm>
          <a:solidFill>
            <a:schemeClr val="bg1"/>
          </a:solidFill>
        </p:spPr>
        <p:txBody>
          <a:bodyPr lIns="274320" tIns="274320" rIns="274320" bIns="1737360" anchor="ctr"/>
          <a:lstStyle>
            <a:lvl1pPr algn="ctr"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he icon to add a product shot here. </a:t>
            </a:r>
          </a:p>
          <a:p>
            <a:r>
              <a:rPr lang="en-US" dirty="0"/>
              <a:t>Ideally the screen shot should be a full-screen capture at high resolution in 16:10 ratio.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08B2F00-4AA6-4BC6-933F-E83DB1C04AB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6287" y="6367577"/>
            <a:ext cx="1303737" cy="201739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1266DAA2-FB4C-46CF-BEF3-1D77CF5ABC3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1123CD2-C515-4151-B8DE-2F827C559204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20173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HC Photo Cover">
    <p:bg>
      <p:bgPr>
        <a:gradFill>
          <a:gsLst>
            <a:gs pos="0">
              <a:srgbClr val="95E8F0"/>
            </a:gs>
            <a:gs pos="100000">
              <a:srgbClr val="020249"/>
            </a:gs>
            <a:gs pos="83000">
              <a:srgbClr val="02126F"/>
            </a:gs>
            <a:gs pos="51000">
              <a:srgbClr val="0231BA"/>
            </a:gs>
            <a:gs pos="25000">
              <a:srgbClr val="29B6C2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50E38B9-846D-4C0A-A2C7-377640E38B3E}"/>
              </a:ext>
            </a:extLst>
          </p:cNvPr>
          <p:cNvSpPr/>
          <p:nvPr/>
        </p:nvSpPr>
        <p:spPr>
          <a:xfrm>
            <a:off x="152400" y="0"/>
            <a:ext cx="12039600" cy="6854249"/>
          </a:xfrm>
          <a:prstGeom prst="rect">
            <a:avLst/>
          </a:prstGeom>
          <a:gradFill flip="none" rotWithShape="1">
            <a:gsLst>
              <a:gs pos="0">
                <a:srgbClr val="B511D4"/>
              </a:gs>
              <a:gs pos="13000">
                <a:srgbClr val="7D0AA6">
                  <a:alpha val="90000"/>
                </a:srgbClr>
              </a:gs>
              <a:gs pos="56000">
                <a:srgbClr val="4DC7D1"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pc="-30" baseline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MHC-Particle-Ring-Vector">
            <a:extLst>
              <a:ext uri="{FF2B5EF4-FFF2-40B4-BE49-F238E27FC236}">
                <a16:creationId xmlns:a16="http://schemas.microsoft.com/office/drawing/2014/main" id="{FBE7799B-6D45-4D30-81DD-3DFA7F5CF7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1979" r="42017" b="19317"/>
          <a:stretch/>
        </p:blipFill>
        <p:spPr>
          <a:xfrm>
            <a:off x="457201" y="-1"/>
            <a:ext cx="11734800" cy="6858001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87D04E-DEBB-4690-ABC4-3DA39CB92E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801396-9DBA-4F4A-911F-971EC7426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73352"/>
            <a:ext cx="12192000" cy="3200400"/>
          </a:xfrm>
          <a:gradFill flip="none" rotWithShape="1">
            <a:gsLst>
              <a:gs pos="35000">
                <a:srgbClr val="022194">
                  <a:alpha val="90000"/>
                </a:srgbClr>
              </a:gs>
              <a:gs pos="0">
                <a:srgbClr val="02126F"/>
              </a:gs>
              <a:gs pos="100000">
                <a:srgbClr val="4DC7D1">
                  <a:alpha val="45000"/>
                </a:srgbClr>
              </a:gs>
            </a:gsLst>
            <a:lin ang="0" scaled="0"/>
            <a:tileRect/>
          </a:gradFill>
        </p:spPr>
        <p:txBody>
          <a:bodyPr vert="horz" lIns="548640" tIns="182880" rIns="548640" bIns="182880" rtlCol="0" anchor="ctr">
            <a:normAutofit/>
          </a:bodyPr>
          <a:lstStyle>
            <a:lvl1pPr>
              <a:defRPr lang="en-US" sz="4400" spc="-30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B5B4751-D81C-40EE-92E7-3325985E1E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599" y="4873752"/>
            <a:ext cx="6400799" cy="1298448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1600" spc="-30" baseline="0">
                <a:solidFill>
                  <a:srgbClr val="B9F9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4D11897-94BA-45C9-8BC5-2048FAD7E33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6410" y="875017"/>
            <a:ext cx="2561604" cy="396380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DDD2FEC-0267-4786-8938-E0A488323E0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3311" y="0"/>
            <a:ext cx="6096000" cy="6858000"/>
          </a:xfrm>
        </p:spPr>
        <p:txBody>
          <a:bodyPr lIns="182880" tIns="182880" rIns="182880" bIns="182880"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cover photo. Please use the Photoshop template to create images with clipping path silhouettes. After inserting, move in front of the dark blue title block.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60518CCC-1785-461E-8554-CD78C536D93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5067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4FC629BF-81B6-4CB5-833B-2C8443884BC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7912" t="24955" r="25104" b="50084"/>
          <a:stretch/>
        </p:blipFill>
        <p:spPr>
          <a:xfrm rot="5400000">
            <a:off x="7498078" y="2164080"/>
            <a:ext cx="4876802" cy="4511042"/>
          </a:xfrm>
          <a:prstGeom prst="rect">
            <a:avLst/>
          </a:prstGeom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AFBF724-12AE-4D1C-A853-A5379BEE863E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1"/>
            </p:custDataLst>
          </p:nvPr>
        </p:nvSpPr>
        <p:spPr>
          <a:xfrm>
            <a:off x="8842739" y="0"/>
            <a:ext cx="3352800" cy="6858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1800"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insert an optional right sidebar image; make sure this image does not cover any text</a:t>
            </a:r>
          </a:p>
          <a:p>
            <a:r>
              <a:rPr lang="en-US" dirty="0"/>
              <a:t>Or delete this box entirely</a:t>
            </a:r>
          </a:p>
          <a:p>
            <a:endParaRPr lang="en-US" dirty="0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B1BF6FCE-7F8B-463F-BA4E-8209D53E6F6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D4FD74F9-415E-452E-8E27-274F41C8C9C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C8324A4B-C501-4A1B-BD2B-009D5D26725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EA74299D-88CD-4D7A-8162-21A6AD3A1E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89856"/>
            <a:ext cx="10972800" cy="753143"/>
          </a:xfrm>
        </p:spPr>
        <p:txBody>
          <a:bodyPr>
            <a:normAutofit/>
          </a:bodyPr>
          <a:lstStyle>
            <a:lvl1pPr>
              <a:defRPr sz="2600" spc="-30" baseline="0">
                <a:solidFill>
                  <a:srgbClr val="0212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824C07-0F46-4248-8793-304963431F7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09600" y="1428750"/>
            <a:ext cx="9144000" cy="4741863"/>
          </a:xfrm>
        </p:spPr>
        <p:txBody>
          <a:bodyPr lIns="0" tIns="0" rIns="0" bIns="0"/>
          <a:lstStyle>
            <a:lvl1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98463" indent="-168275"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7063" indent="-168275"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855663" indent="-166688"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84263" indent="-169863"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34EF81B-02F7-4DAA-B1A0-9D61AE25877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9600" y="6363788"/>
            <a:ext cx="1295399" cy="200449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2061F469-9BA4-4CE7-8E62-8C43C1F362F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922F812-389E-4A02-A1D8-B2063DE4AD49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121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B1BF6FCE-7F8B-463F-BA4E-8209D53E6F6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14726F1-BE8B-4E25-8970-9B3BA34AF764}" type="datetimeFigureOut">
              <a:rPr lang="en-US"/>
              <a:pPr/>
              <a:t>10/7/21</a:t>
            </a:fld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D4FD74F9-415E-452E-8E27-274F41C8C9C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C8324A4B-C501-4A1B-BD2B-009D5D26725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EA74299D-88CD-4D7A-8162-21A6AD3A1E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89856"/>
            <a:ext cx="10972800" cy="753143"/>
          </a:xfrm>
        </p:spPr>
        <p:txBody>
          <a:bodyPr>
            <a:normAutofit/>
          </a:bodyPr>
          <a:lstStyle>
            <a:lvl1pPr>
              <a:defRPr sz="2600" spc="-30" baseline="0">
                <a:solidFill>
                  <a:srgbClr val="0212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39FD08D2-0255-4BB1-87A1-28B1B2EBCCE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0134600" y="6178248"/>
            <a:ext cx="2057400" cy="6797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0DA68FF-4F7F-46B9-BC79-B666F0FA9D4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600" y="6363788"/>
            <a:ext cx="1295399" cy="200449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F4BC7EAF-3712-427D-B6C2-91F1C6D563F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2C6CCF5-55E1-4C2A-BE2D-675148FED6B7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8270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C49FF2-22EE-4803-A363-F60B4BF73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838200"/>
            <a:ext cx="9906000" cy="2743200"/>
          </a:xfrm>
        </p:spPr>
        <p:txBody>
          <a:bodyPr anchor="b">
            <a:normAutofit/>
          </a:bodyPr>
          <a:lstStyle>
            <a:lvl1pPr algn="l">
              <a:defRPr sz="5400" b="0" i="1" spc="0">
                <a:solidFill>
                  <a:srgbClr val="02126F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DD15045-FED5-4E53-95F2-F810A8884A6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9600" y="4518191"/>
            <a:ext cx="2809946" cy="434809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5DD86B43-EAB1-426A-B238-F995F60C6CE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r="26688"/>
          <a:stretch/>
        </p:blipFill>
        <p:spPr>
          <a:xfrm>
            <a:off x="43896" y="3813313"/>
            <a:ext cx="9633504" cy="35310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8321DA7-BF40-4C82-8737-857C8AF6DB23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327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Basic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A98C4922-7560-4D72-AE4A-62609EEAED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912" t="50494" r="25104" b="24545"/>
          <a:stretch/>
        </p:blipFill>
        <p:spPr>
          <a:xfrm rot="5400000">
            <a:off x="-182880" y="2164080"/>
            <a:ext cx="4876802" cy="4511042"/>
          </a:xfrm>
          <a:prstGeom prst="rect">
            <a:avLst/>
          </a:prstGeom>
        </p:spPr>
      </p:pic>
      <p:sp>
        <p:nvSpPr>
          <p:cNvPr id="24" name="Agenda Title">
            <a:extLst>
              <a:ext uri="{FF2B5EF4-FFF2-40B4-BE49-F238E27FC236}">
                <a16:creationId xmlns:a16="http://schemas.microsoft.com/office/drawing/2014/main" id="{29A865FF-D62A-4920-BF5F-F26903562B2C}"/>
              </a:ext>
            </a:extLst>
          </p:cNvPr>
          <p:cNvSpPr/>
          <p:nvPr/>
        </p:nvSpPr>
        <p:spPr>
          <a:xfrm>
            <a:off x="618564" y="0"/>
            <a:ext cx="4114800" cy="12228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800" b="1" spc="-30" baseline="0" dirty="0">
                <a:solidFill>
                  <a:srgbClr val="02126F"/>
                </a:solidFill>
                <a:latin typeface="+mj-lt"/>
              </a:rPr>
              <a:t>AGENDA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0C9A61-8159-4AE9-84B7-9B334988DCE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343650"/>
            <a:ext cx="2514600" cy="388232"/>
          </a:xfrm>
        </p:spPr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053CA9-9246-46C4-96F5-40DABD001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ACB4D5-8EC0-4678-9326-2B1C6634E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ADB7000-1337-4DEC-89DE-4B0E1D5EFE6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10000" y="1143000"/>
            <a:ext cx="7315200" cy="5029200"/>
          </a:xfrm>
        </p:spPr>
        <p:txBody>
          <a:bodyPr lIns="0" tIns="0" rIns="0" bIns="0"/>
          <a:lstStyle>
            <a:lvl1pPr>
              <a:defRPr lang="en-US" spc="-30" baseline="0" dirty="0">
                <a:latin typeface="+mj-lt"/>
              </a:defRPr>
            </a:lvl1pPr>
            <a:lvl2pPr>
              <a:defRPr lang="en-US" spc="-30" baseline="0" dirty="0">
                <a:latin typeface="+mj-lt"/>
              </a:defRPr>
            </a:lvl2pPr>
            <a:lvl3pPr>
              <a:defRPr lang="en-US" spc="-30" baseline="0" dirty="0">
                <a:latin typeface="+mj-lt"/>
              </a:defRPr>
            </a:lvl3pPr>
            <a:lvl4pPr>
              <a:defRPr lang="en-US" spc="-30" baseline="0" dirty="0">
                <a:latin typeface="+mj-lt"/>
              </a:defRPr>
            </a:lvl4pPr>
            <a:lvl5pPr>
              <a:defRPr lang="en-US" spc="-30" baseline="0" dirty="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5E88FB06-1F2F-490E-9825-865A05BA50D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9600" y="6363788"/>
            <a:ext cx="1295399" cy="200449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7877BA5F-6103-4227-AEE3-DB23FC258DF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F3BE6CA-232B-4419-8553-D5DAB0A4CD7E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9592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0EB800D8-2CD2-4501-8121-80C516CC43D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912" t="24955" r="25104" b="50084"/>
          <a:stretch/>
        </p:blipFill>
        <p:spPr>
          <a:xfrm rot="5400000">
            <a:off x="7498078" y="2164080"/>
            <a:ext cx="4876802" cy="4511042"/>
          </a:xfrm>
          <a:prstGeom prst="rect">
            <a:avLst/>
          </a:prstGeom>
        </p:spPr>
      </p:pic>
      <p:sp>
        <p:nvSpPr>
          <p:cNvPr id="26" name="Case Study Logo Background">
            <a:extLst>
              <a:ext uri="{FF2B5EF4-FFF2-40B4-BE49-F238E27FC236}">
                <a16:creationId xmlns:a16="http://schemas.microsoft.com/office/drawing/2014/main" id="{6A20F387-8606-499C-9AC0-5C69B13DBFF4}"/>
              </a:ext>
            </a:extLst>
          </p:cNvPr>
          <p:cNvSpPr/>
          <p:nvPr/>
        </p:nvSpPr>
        <p:spPr>
          <a:xfrm>
            <a:off x="8839200" y="0"/>
            <a:ext cx="3352800" cy="9143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spc="-30" baseline="0"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C49FF2-22EE-4803-A363-F60B4BF73C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89857"/>
            <a:ext cx="7772400" cy="753142"/>
          </a:xfrm>
        </p:spPr>
        <p:txBody>
          <a:bodyPr>
            <a:normAutofit/>
          </a:bodyPr>
          <a:lstStyle>
            <a:lvl1pPr>
              <a:defRPr sz="2600" spc="-30" baseline="0">
                <a:solidFill>
                  <a:srgbClr val="02126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0C9A61-8159-4AE9-84B7-9B334988DC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053CA9-9246-46C4-96F5-40DABD001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ACB4D5-8EC0-4678-9326-2B1C6634E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A39F1CA4-7287-4049-B05B-25EAF6E45B9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7800" y="152400"/>
            <a:ext cx="2873834" cy="6096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None/>
              <a:defRPr sz="2000" spc="-30" baseline="0">
                <a:latin typeface="+mj-lt"/>
              </a:defRPr>
            </a:lvl1pPr>
          </a:lstStyle>
          <a:p>
            <a:r>
              <a:rPr lang="en-US" dirty="0"/>
              <a:t>Click to insert case </a:t>
            </a:r>
            <a:br>
              <a:rPr lang="en-US" dirty="0"/>
            </a:br>
            <a:r>
              <a:rPr lang="en-US" dirty="0"/>
              <a:t>study client logo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1A96A6-1166-4143-A7C1-4502DD629C7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9600" y="1428105"/>
            <a:ext cx="7772400" cy="4741863"/>
          </a:xfrm>
        </p:spPr>
        <p:txBody>
          <a:bodyPr lIns="0" tIns="0" rIns="0" bIns="0"/>
          <a:lstStyle>
            <a:lvl1pPr>
              <a:defRPr lang="en-US" spc="-30" baseline="0" dirty="0">
                <a:latin typeface="+mj-lt"/>
              </a:defRPr>
            </a:lvl1pPr>
            <a:lvl2pPr>
              <a:defRPr lang="en-US" spc="-30" baseline="0" dirty="0">
                <a:latin typeface="+mj-lt"/>
              </a:defRPr>
            </a:lvl2pPr>
            <a:lvl3pPr>
              <a:defRPr lang="en-US" spc="-30" baseline="0" dirty="0">
                <a:latin typeface="+mj-lt"/>
              </a:defRPr>
            </a:lvl3pPr>
            <a:lvl4pPr>
              <a:defRPr lang="en-US" spc="-30" baseline="0" dirty="0">
                <a:latin typeface="+mj-lt"/>
              </a:defRPr>
            </a:lvl4pPr>
            <a:lvl5pPr>
              <a:defRPr lang="en-US" spc="-30" baseline="0" dirty="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6AF7E09-03F9-41F9-A830-DD79B4E4B2F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839200" y="914400"/>
            <a:ext cx="3352800" cy="5943600"/>
          </a:xfrm>
        </p:spPr>
        <p:txBody>
          <a:bodyPr anchor="ctr"/>
          <a:lstStyle>
            <a:lvl1pPr algn="ctr">
              <a:defRPr spc="-30" baseline="0">
                <a:latin typeface="+mj-lt"/>
              </a:defRPr>
            </a:lvl1pPr>
          </a:lstStyle>
          <a:p>
            <a:r>
              <a:rPr lang="en-US" dirty="0"/>
              <a:t>Click to insert an optional right sidebar image; make sure this image does not cover any text</a:t>
            </a:r>
          </a:p>
          <a:p>
            <a:r>
              <a:rPr lang="en-US" dirty="0"/>
              <a:t>Or delete this box entirely</a:t>
            </a:r>
          </a:p>
          <a:p>
            <a:endParaRPr lang="en-US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23687F79-7B0D-464F-9FE6-A3EED93FAE2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9600" y="6363788"/>
            <a:ext cx="1295399" cy="200449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5CC111DD-C326-42EA-BC4B-1960AF5953D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1" r="33318" b="33471"/>
          <a:stretch/>
        </p:blipFill>
        <p:spPr>
          <a:xfrm>
            <a:off x="43896" y="36755"/>
            <a:ext cx="8762174" cy="234915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4AD565B-1149-4EF7-90F3-F57410ABB400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260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879E59-EFF0-49A6-82C7-BC61FAD9EC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89856"/>
            <a:ext cx="10972800" cy="753143"/>
          </a:xfrm>
        </p:spPr>
        <p:txBody>
          <a:bodyPr>
            <a:normAutofit/>
          </a:bodyPr>
          <a:lstStyle>
            <a:lvl1pPr algn="l">
              <a:defRPr sz="2600" spc="-30" baseline="0">
                <a:solidFill>
                  <a:srgbClr val="02126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BF6A20-D63D-448E-A3AD-E833D3779E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B664AB-8974-43E1-8D37-B02A84D60F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926A03-B73E-46B4-BD8A-363053B18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C54DDEE-566B-4728-ACD3-17620A8DF8F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09600" y="1428750"/>
            <a:ext cx="10972800" cy="4743450"/>
          </a:xfrm>
        </p:spPr>
        <p:txBody>
          <a:bodyPr lIns="0" tIns="0" rIns="0" bIns="0"/>
          <a:lstStyle>
            <a:lvl1pPr>
              <a:defRPr lang="en-US" spc="-30" baseline="0" dirty="0">
                <a:latin typeface="+mj-lt"/>
              </a:defRPr>
            </a:lvl1pPr>
            <a:lvl2pPr>
              <a:defRPr lang="en-US" spc="-30" baseline="0" dirty="0">
                <a:latin typeface="+mj-lt"/>
              </a:defRPr>
            </a:lvl2pPr>
            <a:lvl3pPr>
              <a:defRPr lang="en-US" spc="-30" baseline="0" dirty="0">
                <a:latin typeface="+mj-lt"/>
              </a:defRPr>
            </a:lvl3pPr>
            <a:lvl4pPr>
              <a:defRPr lang="en-US" spc="-30" baseline="0" dirty="0">
                <a:latin typeface="+mj-lt"/>
              </a:defRPr>
            </a:lvl4pPr>
            <a:lvl5pPr>
              <a:defRPr lang="en-US" spc="-30" baseline="0" dirty="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0A27FE0B-265C-445D-9A82-4E82E38D667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0134600" y="6178248"/>
            <a:ext cx="2057400" cy="6797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BD900F0A-01DF-4667-9462-30F20BB2E22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600" y="6363788"/>
            <a:ext cx="1295399" cy="200449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66B013DD-48ED-4470-992F-AE04B139936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52DFF26-4A2A-4C01-A830-3B8DC8862354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5563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879E59-EFF0-49A6-82C7-BC61FAD9EC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89856"/>
            <a:ext cx="10972800" cy="753143"/>
          </a:xfr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00" b="1" kern="1200" spc="-30" baseline="0" dirty="0">
                <a:solidFill>
                  <a:srgbClr val="02126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BF6A20-D63D-448E-A3AD-E833D3779E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B664AB-8974-43E1-8D37-B02A84D60F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926A03-B73E-46B4-BD8A-363053B18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F19A832-D892-40CE-9ACD-570FF115DE0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09600" y="1428750"/>
            <a:ext cx="5334000" cy="4743450"/>
          </a:xfrm>
        </p:spPr>
        <p:txBody>
          <a:bodyPr lIns="0" tIns="0" rIns="0" bIns="0">
            <a:noAutofit/>
          </a:bodyPr>
          <a:lstStyle>
            <a:lvl1pPr>
              <a:defRPr lang="en-US" spc="-30" baseline="0" dirty="0">
                <a:latin typeface="+mj-lt"/>
              </a:defRPr>
            </a:lvl1pPr>
            <a:lvl2pPr>
              <a:defRPr lang="en-US" spc="-30" baseline="0" dirty="0">
                <a:latin typeface="+mj-lt"/>
              </a:defRPr>
            </a:lvl2pPr>
            <a:lvl3pPr>
              <a:defRPr lang="en-US" spc="-30" baseline="0" dirty="0">
                <a:latin typeface="+mj-lt"/>
              </a:defRPr>
            </a:lvl3pPr>
            <a:lvl4pPr>
              <a:defRPr lang="en-US" spc="-30" baseline="0" dirty="0">
                <a:latin typeface="+mj-lt"/>
              </a:defRPr>
            </a:lvl4pPr>
            <a:lvl5pPr>
              <a:defRPr lang="en-US" spc="-30" baseline="0" dirty="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52C2D76-3E6C-4080-9642-2FED4FF279F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0" y="1428750"/>
            <a:ext cx="5334000" cy="4741863"/>
          </a:xfrm>
        </p:spPr>
        <p:txBody>
          <a:bodyPr lIns="0" tIns="0" rIns="0" bIns="0">
            <a:noAutofit/>
          </a:bodyPr>
          <a:lstStyle>
            <a:lvl1pPr>
              <a:defRPr lang="en-US" spc="-30" baseline="0">
                <a:latin typeface="+mj-lt"/>
              </a:defRPr>
            </a:lvl1pPr>
            <a:lvl2pPr>
              <a:defRPr lang="en-US" spc="-30" baseline="0">
                <a:latin typeface="+mj-lt"/>
              </a:defRPr>
            </a:lvl2pPr>
            <a:lvl3pPr>
              <a:defRPr lang="en-US" spc="-30" baseline="0">
                <a:latin typeface="+mj-lt"/>
              </a:defRPr>
            </a:lvl3pPr>
            <a:lvl4pPr>
              <a:defRPr lang="en-US" spc="-30" baseline="0">
                <a:latin typeface="+mj-lt"/>
              </a:defRPr>
            </a:lvl4pPr>
            <a:lvl5pPr>
              <a:defRPr lang="en-US" spc="-30" baseline="0" dirty="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F88AA527-18B9-4132-AAE2-A279FECC4B7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0134600" y="6178248"/>
            <a:ext cx="2057400" cy="6797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BA9E5A1-1658-4FAB-824F-E2826DDEE35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600" y="6363788"/>
            <a:ext cx="1295399" cy="200449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160DEC67-5861-41E3-B028-6B619685D0E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DF94C46-D784-4B66-B5E7-42A5B4DE4EDE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8529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879E59-EFF0-49A6-82C7-BC61FAD9EC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89856"/>
            <a:ext cx="10972800" cy="753143"/>
          </a:xfr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00" b="1" kern="1200" spc="-30" baseline="0" dirty="0">
                <a:solidFill>
                  <a:srgbClr val="02126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BF6A20-D63D-448E-A3AD-E833D3779E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B664AB-8974-43E1-8D37-B02A84D60F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926A03-B73E-46B4-BD8A-363053B18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07F8B0E-7E53-472C-B736-96DF7ACB729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09600" y="1428750"/>
            <a:ext cx="3505200" cy="4741863"/>
          </a:xfrm>
        </p:spPr>
        <p:txBody>
          <a:bodyPr lIns="0" tIns="0" rIns="0" bIns="0">
            <a:normAutofit/>
          </a:bodyPr>
          <a:lstStyle>
            <a:lvl1pPr>
              <a:defRPr lang="en-US" spc="-30" baseline="0" dirty="0">
                <a:latin typeface="+mj-lt"/>
              </a:defRPr>
            </a:lvl1pPr>
            <a:lvl2pPr>
              <a:defRPr lang="en-US" spc="-30" baseline="0" dirty="0">
                <a:latin typeface="+mj-lt"/>
              </a:defRPr>
            </a:lvl2pPr>
            <a:lvl3pPr>
              <a:defRPr lang="en-US" spc="-30" baseline="0" dirty="0">
                <a:latin typeface="+mj-lt"/>
              </a:defRPr>
            </a:lvl3pPr>
            <a:lvl4pPr>
              <a:defRPr lang="en-US" spc="-30" baseline="0" dirty="0">
                <a:latin typeface="+mj-lt"/>
              </a:defRPr>
            </a:lvl4pPr>
            <a:lvl5pPr>
              <a:defRPr lang="en-US" spc="-30" baseline="0" dirty="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6210C54F-9E27-481D-A2E1-56BCAEC2A10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67200" y="1428750"/>
            <a:ext cx="3505200" cy="4743450"/>
          </a:xfrm>
        </p:spPr>
        <p:txBody>
          <a:bodyPr lIns="0" tIns="0" rIns="0" bIns="0">
            <a:normAutofit/>
          </a:bodyPr>
          <a:lstStyle>
            <a:lvl1pPr>
              <a:defRPr lang="en-US" spc="-30" baseline="0">
                <a:latin typeface="+mj-lt"/>
              </a:defRPr>
            </a:lvl1pPr>
            <a:lvl2pPr>
              <a:defRPr lang="en-US" spc="-30" baseline="0">
                <a:latin typeface="+mj-lt"/>
              </a:defRPr>
            </a:lvl2pPr>
            <a:lvl3pPr>
              <a:defRPr lang="en-US" spc="-30" baseline="0">
                <a:latin typeface="+mj-lt"/>
              </a:defRPr>
            </a:lvl3pPr>
            <a:lvl4pPr>
              <a:defRPr lang="en-US" spc="-30" baseline="0">
                <a:latin typeface="+mj-lt"/>
              </a:defRPr>
            </a:lvl4pPr>
            <a:lvl5pPr>
              <a:defRPr lang="en-US" spc="-30" baseline="0" dirty="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C82BF2B9-63A9-4E2E-81E9-789E567C97B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924800" y="1428750"/>
            <a:ext cx="3505200" cy="4743450"/>
          </a:xfrm>
        </p:spPr>
        <p:txBody>
          <a:bodyPr lIns="0" tIns="0" rIns="0" bIns="0">
            <a:normAutofit/>
          </a:bodyPr>
          <a:lstStyle>
            <a:lvl1pPr>
              <a:defRPr lang="en-US" spc="-30" baseline="0">
                <a:latin typeface="+mj-lt"/>
              </a:defRPr>
            </a:lvl1pPr>
            <a:lvl2pPr>
              <a:defRPr lang="en-US" spc="-30" baseline="0">
                <a:latin typeface="+mj-lt"/>
              </a:defRPr>
            </a:lvl2pPr>
            <a:lvl3pPr>
              <a:defRPr lang="en-US" spc="-30" baseline="0">
                <a:latin typeface="+mj-lt"/>
              </a:defRPr>
            </a:lvl3pPr>
            <a:lvl4pPr>
              <a:defRPr lang="en-US" spc="-30" baseline="0">
                <a:latin typeface="+mj-lt"/>
              </a:defRPr>
            </a:lvl4pPr>
            <a:lvl5pPr>
              <a:defRPr lang="en-US" spc="-30" baseline="0" dirty="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E4FC61DE-4684-4966-B828-BC8BF5A633B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0134600" y="6178248"/>
            <a:ext cx="2057400" cy="6797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58E25B75-968D-4DD3-B4AC-EFEF00D2E9C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600" y="6363788"/>
            <a:ext cx="1295399" cy="200449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B341FD55-5F51-4D0E-86A5-9D893CD51D3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C9173BCB-1170-41E4-B450-21009CFE4E5E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6453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879E59-EFF0-49A6-82C7-BC61FAD9EC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89856"/>
            <a:ext cx="10972800" cy="753143"/>
          </a:xfr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00" b="1" kern="1200" spc="-30" baseline="0" dirty="0">
                <a:solidFill>
                  <a:srgbClr val="02126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3BF6A20-D63D-448E-A3AD-E833D3779E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B664AB-8974-43E1-8D37-B02A84D60F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926A03-B73E-46B4-BD8A-363053B18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B958D6C-4B99-4D30-9DE8-7290D9F9AAE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6721" y="1428750"/>
            <a:ext cx="2514600" cy="4743450"/>
          </a:xfrm>
        </p:spPr>
        <p:txBody>
          <a:bodyPr lIns="0" tIns="0" rIns="0" bIns="0">
            <a:normAutofit/>
          </a:bodyPr>
          <a:lstStyle>
            <a:lvl1pPr>
              <a:defRPr lang="en-US" spc="-30" baseline="0" dirty="0">
                <a:latin typeface="+mj-lt"/>
              </a:defRPr>
            </a:lvl1pPr>
            <a:lvl2pPr>
              <a:defRPr lang="en-US" spc="-30" baseline="0" dirty="0">
                <a:latin typeface="+mj-lt"/>
              </a:defRPr>
            </a:lvl2pPr>
            <a:lvl3pPr>
              <a:defRPr lang="en-US" spc="-30" baseline="0" dirty="0">
                <a:latin typeface="+mj-lt"/>
              </a:defRPr>
            </a:lvl3pPr>
            <a:lvl4pPr>
              <a:defRPr lang="en-US" spc="-30" baseline="0" dirty="0">
                <a:latin typeface="+mj-lt"/>
              </a:defRPr>
            </a:lvl4pPr>
            <a:lvl5pPr>
              <a:defRPr lang="en-US" spc="-30" baseline="0" dirty="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C39F92F6-1D3C-46A6-9796-658245B26E1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283721" y="1428750"/>
            <a:ext cx="2590800" cy="4741863"/>
          </a:xfrm>
        </p:spPr>
        <p:txBody>
          <a:bodyPr lIns="0" tIns="0" rIns="0" bIns="0">
            <a:normAutofit/>
          </a:bodyPr>
          <a:lstStyle>
            <a:lvl1pPr>
              <a:defRPr lang="en-US" spc="-30" baseline="0">
                <a:latin typeface="+mj-lt"/>
              </a:defRPr>
            </a:lvl1pPr>
            <a:lvl2pPr>
              <a:defRPr lang="en-US" spc="-30" baseline="0">
                <a:latin typeface="+mj-lt"/>
              </a:defRPr>
            </a:lvl2pPr>
            <a:lvl3pPr>
              <a:defRPr lang="en-US" spc="-30" baseline="0">
                <a:latin typeface="+mj-lt"/>
              </a:defRPr>
            </a:lvl3pPr>
            <a:lvl4pPr>
              <a:defRPr lang="en-US" spc="-30" baseline="0">
                <a:latin typeface="+mj-lt"/>
              </a:defRPr>
            </a:lvl4pPr>
            <a:lvl5pPr>
              <a:defRPr lang="en-US" spc="-30" baseline="0" dirty="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5DA22DFF-3A9B-4781-AB73-B26E3DF50A6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026921" y="1428750"/>
            <a:ext cx="2590800" cy="4743450"/>
          </a:xfrm>
        </p:spPr>
        <p:txBody>
          <a:bodyPr lIns="0" tIns="0" rIns="0" bIns="0">
            <a:normAutofit/>
          </a:bodyPr>
          <a:lstStyle>
            <a:lvl1pPr>
              <a:defRPr lang="en-US" spc="-30" baseline="0">
                <a:latin typeface="+mj-lt"/>
              </a:defRPr>
            </a:lvl1pPr>
            <a:lvl2pPr>
              <a:defRPr lang="en-US" spc="-30" baseline="0">
                <a:latin typeface="+mj-lt"/>
              </a:defRPr>
            </a:lvl2pPr>
            <a:lvl3pPr>
              <a:defRPr lang="en-US" spc="-30" baseline="0">
                <a:latin typeface="+mj-lt"/>
              </a:defRPr>
            </a:lvl3pPr>
            <a:lvl4pPr>
              <a:defRPr lang="en-US" spc="-30" baseline="0">
                <a:latin typeface="+mj-lt"/>
              </a:defRPr>
            </a:lvl4pPr>
            <a:lvl5pPr>
              <a:defRPr lang="en-US" spc="-30" baseline="0" dirty="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4C99D73B-6E5D-4282-BA60-D8874EB32BF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770121" y="1428750"/>
            <a:ext cx="2590800" cy="4741863"/>
          </a:xfrm>
        </p:spPr>
        <p:txBody>
          <a:bodyPr lIns="0" tIns="0" rIns="0" bIns="0">
            <a:normAutofit/>
          </a:bodyPr>
          <a:lstStyle>
            <a:lvl1pPr>
              <a:defRPr lang="en-US" spc="-30" baseline="0">
                <a:latin typeface="+mj-lt"/>
              </a:defRPr>
            </a:lvl1pPr>
            <a:lvl2pPr>
              <a:defRPr lang="en-US" spc="-30" baseline="0">
                <a:latin typeface="+mj-lt"/>
              </a:defRPr>
            </a:lvl2pPr>
            <a:lvl3pPr>
              <a:defRPr lang="en-US" spc="-30" baseline="0">
                <a:latin typeface="+mj-lt"/>
              </a:defRPr>
            </a:lvl3pPr>
            <a:lvl4pPr>
              <a:defRPr lang="en-US" spc="-30" baseline="0">
                <a:latin typeface="+mj-lt"/>
              </a:defRPr>
            </a:lvl4pPr>
            <a:lvl5pPr>
              <a:defRPr lang="en-US" spc="-30" baseline="0" dirty="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4ACA37E9-530F-4AA7-B5CD-549A352F185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0134600" y="6178248"/>
            <a:ext cx="2057400" cy="6797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3B5580A2-51C0-422D-BCE7-24D29E5E0B1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600" y="6363788"/>
            <a:ext cx="1295399" cy="200449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FE9910F3-809A-48C6-8F14-A6D433BF5B8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D375CA0-0507-4492-8226-5D396BFAB217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472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EC41DE55-4B17-43DA-96D5-76633E9086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62791" t="20133" r="664" b="20100"/>
          <a:stretch/>
        </p:blipFill>
        <p:spPr>
          <a:xfrm rot="10800000">
            <a:off x="8001000" y="-3"/>
            <a:ext cx="4191000" cy="6854249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6FBC64E4-B78B-49A3-8FB7-BB7AFA167D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5685" y="883920"/>
            <a:ext cx="1085850" cy="91440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F8732BE-5967-4112-97E6-6D511847F6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F8E7C5-8999-4043-A848-AEEC710665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6E6E70-F427-4A88-9D31-F0B2D4E2F0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4360F2-1EC9-4589-A372-567336DD73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52600" y="1143000"/>
            <a:ext cx="8695764" cy="4114800"/>
          </a:xfrm>
          <a:noFill/>
        </p:spPr>
        <p:txBody>
          <a:bodyPr lIns="0" tIns="0" rIns="0" bIns="0" anchor="ctr">
            <a:normAutofit/>
          </a:bodyPr>
          <a:lstStyle>
            <a:lvl1pPr algn="l">
              <a:defRPr sz="6000" b="0" i="1">
                <a:ln w="6350">
                  <a:noFill/>
                  <a:prstDash val="solid"/>
                </a:ln>
                <a:solidFill>
                  <a:srgbClr val="02126F"/>
                </a:solidFill>
                <a:effectLst/>
                <a:latin typeface="Georgia" panose="02040502050405020303" pitchFamily="18" charset="0"/>
              </a:defRPr>
            </a:lvl1pPr>
          </a:lstStyle>
          <a:p>
            <a:r>
              <a:rPr lang="en-US" dirty="0"/>
              <a:t>Click to edit quote tex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AEB494A-1571-48DB-B0BE-B2A49A873C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52600" y="5334000"/>
            <a:ext cx="7543800" cy="844550"/>
          </a:xfrm>
        </p:spPr>
        <p:txBody>
          <a:bodyPr anchor="ctr"/>
          <a:lstStyle>
            <a:lvl1pPr marL="0" indent="0">
              <a:buNone/>
              <a:defRPr spc="-3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quote attribution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601C03B-A417-4786-B306-4984649AEBD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800000">
            <a:off x="10480025" y="5295441"/>
            <a:ext cx="1085850" cy="9144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8E51D78D-6C42-4B85-81B2-B8DFC220C03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09600" y="6363788"/>
            <a:ext cx="1295399" cy="200449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5D8A9214-7806-48F1-AFEA-F36971D88C70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3B40ECF-A382-4173-BBBF-A23A7904038C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47726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HC Divider">
    <p:bg>
      <p:bgPr>
        <a:gradFill>
          <a:gsLst>
            <a:gs pos="0">
              <a:srgbClr val="95E8F0"/>
            </a:gs>
            <a:gs pos="100000">
              <a:srgbClr val="020249"/>
            </a:gs>
            <a:gs pos="83000">
              <a:srgbClr val="02126F"/>
            </a:gs>
            <a:gs pos="51000">
              <a:srgbClr val="0231BA"/>
            </a:gs>
            <a:gs pos="25000">
              <a:srgbClr val="29B6C2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0DD56855-C5BA-4A27-B0DC-1F69ED113E80}"/>
              </a:ext>
            </a:extLst>
          </p:cNvPr>
          <p:cNvSpPr/>
          <p:nvPr/>
        </p:nvSpPr>
        <p:spPr>
          <a:xfrm>
            <a:off x="152400" y="0"/>
            <a:ext cx="12039600" cy="6854249"/>
          </a:xfrm>
          <a:prstGeom prst="rect">
            <a:avLst/>
          </a:prstGeom>
          <a:gradFill flip="none" rotWithShape="1">
            <a:gsLst>
              <a:gs pos="0">
                <a:srgbClr val="B511D4"/>
              </a:gs>
              <a:gs pos="13000">
                <a:srgbClr val="7D0AA6">
                  <a:alpha val="90000"/>
                </a:srgbClr>
              </a:gs>
              <a:gs pos="56000">
                <a:srgbClr val="4DC7D1"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pc="-50" baseline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MHC-Particle-Ring-Vector">
            <a:extLst>
              <a:ext uri="{FF2B5EF4-FFF2-40B4-BE49-F238E27FC236}">
                <a16:creationId xmlns:a16="http://schemas.microsoft.com/office/drawing/2014/main" id="{A3816D56-5BAB-40A2-9264-9F2EC8AD706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36452" b="31356"/>
          <a:stretch/>
        </p:blipFill>
        <p:spPr>
          <a:xfrm>
            <a:off x="5203174" y="2496517"/>
            <a:ext cx="6988826" cy="4357731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87D04E-DEBB-4690-ABC4-3DA39CB92E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5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C40DBE-DFC9-40A4-B493-48EE487242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9801" y="0"/>
            <a:ext cx="1744556" cy="6854248"/>
          </a:xfrm>
          <a:gradFill flip="none" rotWithShape="1">
            <a:gsLst>
              <a:gs pos="71000">
                <a:srgbClr val="022194">
                  <a:alpha val="80000"/>
                </a:srgbClr>
              </a:gs>
              <a:gs pos="100000">
                <a:srgbClr val="450277"/>
              </a:gs>
              <a:gs pos="0">
                <a:srgbClr val="4DC7D1">
                  <a:alpha val="50000"/>
                </a:srgbClr>
              </a:gs>
            </a:gsLst>
            <a:lin ang="5400000" scaled="0"/>
            <a:tileRect/>
          </a:gradFill>
        </p:spPr>
        <p:txBody>
          <a:bodyPr vert="horz" lIns="91440" tIns="182880" rIns="91440" bIns="457200" rtlCol="0"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lang="en-US" sz="9600" b="1" spc="-300" baseline="0" dirty="0">
                <a:ln w="12700">
                  <a:solidFill>
                    <a:srgbClr val="95E8F0"/>
                  </a:solidFill>
                </a:ln>
                <a:noFill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169863" lvl="0" indent="-169863" algn="ctr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801396-9DBA-4F4A-911F-971EC7426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186889"/>
            <a:ext cx="7543800" cy="2057400"/>
          </a:xfrm>
        </p:spPr>
        <p:txBody>
          <a:bodyPr anchor="t">
            <a:normAutofit/>
          </a:bodyPr>
          <a:lstStyle>
            <a:lvl1pPr>
              <a:defRPr lang="en-US" sz="4800" b="0" i="0" spc="-30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B5B4751-D81C-40EE-92E7-3325985E1E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948551"/>
            <a:ext cx="9067800" cy="547966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1800" spc="3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07A3415-D537-4BAB-A2D8-CEC1653FE8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r="26688"/>
          <a:stretch/>
        </p:blipFill>
        <p:spPr>
          <a:xfrm>
            <a:off x="43896" y="2516395"/>
            <a:ext cx="9633504" cy="353102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CF28D6A3-C979-4C07-A45F-9281F8494A8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6410" y="1159262"/>
            <a:ext cx="2004390" cy="310157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138F1F33-0300-486E-A793-FC66CD90B50F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56810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D0F60C6B-BEEB-4FEF-A8EF-16E71A941EB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62791" t="20133" r="664" b="20100"/>
          <a:stretch/>
        </p:blipFill>
        <p:spPr>
          <a:xfrm rot="10800000">
            <a:off x="8001000" y="-3"/>
            <a:ext cx="4191000" cy="6854249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E71858-C861-4BA8-8210-69D7B7C458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9D616D-84C8-4906-9D82-A42161529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CDB39B-57C8-4AA4-9DB1-07D1FFFB62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5099A965-7CA1-4FF7-BE3B-8BCAD84E0C3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0134600" y="6178248"/>
            <a:ext cx="2057400" cy="6797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4EC747A-451E-484A-A58D-FA83C6121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143000"/>
            <a:ext cx="3200400" cy="2743200"/>
          </a:xfrm>
        </p:spPr>
        <p:txBody>
          <a:bodyPr anchor="t"/>
          <a:lstStyle>
            <a:lvl1pPr>
              <a:defRPr sz="2800" spc="-30" baseline="0">
                <a:solidFill>
                  <a:srgbClr val="02126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4BA06D5E-4AAA-4162-A54D-935A1CF1D52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114800" y="1143000"/>
            <a:ext cx="7010400" cy="4572000"/>
          </a:xfrm>
        </p:spPr>
        <p:txBody>
          <a:bodyPr>
            <a:normAutofit/>
          </a:bodyPr>
          <a:lstStyle>
            <a:lvl1pPr marL="0" indent="0">
              <a:buNone/>
              <a:defRPr sz="4800" i="1">
                <a:latin typeface="Georgia" panose="02040502050405020303" pitchFamily="18" charset="0"/>
              </a:defRPr>
            </a:lvl1pPr>
            <a:lvl2pPr marL="230188" indent="0">
              <a:buNone/>
              <a:defRPr sz="4400" i="1">
                <a:latin typeface="Georgia" panose="02040502050405020303" pitchFamily="18" charset="0"/>
              </a:defRPr>
            </a:lvl2pPr>
            <a:lvl3pPr marL="458788" indent="0">
              <a:buNone/>
              <a:defRPr sz="4000" i="1">
                <a:latin typeface="Georgia" panose="02040502050405020303" pitchFamily="18" charset="0"/>
              </a:defRPr>
            </a:lvl3pPr>
            <a:lvl4pPr marL="688975" indent="0">
              <a:buNone/>
              <a:defRPr sz="3600" i="1">
                <a:latin typeface="Georgia" panose="02040502050405020303" pitchFamily="18" charset="0"/>
              </a:defRPr>
            </a:lvl4pPr>
            <a:lvl5pPr marL="917575" indent="0">
              <a:buNone/>
              <a:defRPr sz="3600" i="1">
                <a:latin typeface="Georgia" panose="02040502050405020303" pitchFamily="18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E0D310CE-9EF7-4575-9782-70FB0F3958D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9600" y="6363788"/>
            <a:ext cx="1295399" cy="200449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26D0C707-5F37-46CD-95D5-E7B12EF3CC6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105D445-84A7-4E88-A54B-842A97C25CFF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6456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B8FFF968-220A-4D2B-BF80-902AF19DF19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62791" t="20133" r="664" b="20100"/>
          <a:stretch/>
        </p:blipFill>
        <p:spPr>
          <a:xfrm rot="10800000">
            <a:off x="8001000" y="-3"/>
            <a:ext cx="4191000" cy="685424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0F10510-D11D-45A9-9778-D18F5D6D16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143000"/>
            <a:ext cx="10972800" cy="4572000"/>
          </a:xfrm>
        </p:spPr>
        <p:txBody>
          <a:bodyPr anchor="ctr">
            <a:normAutofit/>
          </a:bodyPr>
          <a:lstStyle>
            <a:lvl1pPr algn="ctr">
              <a:defRPr lang="en-US" sz="5400" b="0" i="1">
                <a:solidFill>
                  <a:srgbClr val="02126F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E71858-C861-4BA8-8210-69D7B7C458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9D616D-84C8-4906-9D82-A42161529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CDB39B-57C8-4AA4-9DB1-07D1FFFB62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AEBFA0AD-09AC-4726-890B-40A09ED672B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0134600" y="6178248"/>
            <a:ext cx="2057400" cy="6797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95FDD6EE-0CF7-42A9-BB25-2338E50C19B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9600" y="6363788"/>
            <a:ext cx="1295399" cy="200449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9B225898-1313-4584-9D43-A6A6BBC73C5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659BF35-C7C7-40BA-936D-0CF44288C35A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8985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duct Shot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ray Background">
            <a:extLst>
              <a:ext uri="{FF2B5EF4-FFF2-40B4-BE49-F238E27FC236}">
                <a16:creationId xmlns:a16="http://schemas.microsoft.com/office/drawing/2014/main" id="{65C7582C-ED04-42C5-ACF7-580C24157C5A}"/>
              </a:ext>
            </a:extLst>
          </p:cNvPr>
          <p:cNvSpPr/>
          <p:nvPr/>
        </p:nvSpPr>
        <p:spPr>
          <a:xfrm>
            <a:off x="0" y="5889046"/>
            <a:ext cx="12192000" cy="968954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spc="-30" baseline="0">
              <a:solidFill>
                <a:schemeClr val="lt1"/>
              </a:solidFill>
              <a:latin typeface="+mj-lt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62AD10-F117-4D71-A505-D5BEA4052E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533400"/>
            <a:ext cx="3504747" cy="1600200"/>
          </a:xfrm>
        </p:spPr>
        <p:txBody>
          <a:bodyPr anchor="ctr"/>
          <a:lstStyle>
            <a:lvl1pPr>
              <a:defRPr spc="-30" baseline="0">
                <a:solidFill>
                  <a:srgbClr val="02126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0F181D-3104-4CD3-86CC-A3E03075E6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943E8B-D077-4E00-9464-2E61FC358F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3D5E59-CAF6-4FFE-A7F8-4B69C0C97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pc="-30" baseline="0">
                <a:solidFill>
                  <a:srgbClr val="A6AFB0"/>
                </a:solidFill>
                <a:latin typeface="+mj-lt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76186843-CD28-4DE8-A37B-6C0E06A9A45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2618"/>
          <a:stretch/>
        </p:blipFill>
        <p:spPr>
          <a:xfrm>
            <a:off x="3335854" y="533399"/>
            <a:ext cx="8856146" cy="6004367"/>
          </a:xfrm>
          <a:prstGeom prst="rect">
            <a:avLst/>
          </a:prstGeom>
        </p:spPr>
      </p:pic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DA506ED1-8DC5-4EA7-A0C3-6FA1426AAB4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04838" y="2209800"/>
            <a:ext cx="3509962" cy="3553127"/>
          </a:xfrm>
        </p:spPr>
        <p:txBody>
          <a:bodyPr anchor="ctr"/>
          <a:lstStyle>
            <a:lvl1pPr>
              <a:defRPr lang="en-US" spc="-30" baseline="0" dirty="0">
                <a:latin typeface="+mj-lt"/>
              </a:defRPr>
            </a:lvl1pPr>
            <a:lvl2pPr>
              <a:defRPr lang="en-US" spc="-30" baseline="0" dirty="0">
                <a:latin typeface="+mj-lt"/>
              </a:defRPr>
            </a:lvl2pPr>
            <a:lvl3pPr>
              <a:defRPr lang="en-US" spc="-30" baseline="0" dirty="0">
                <a:latin typeface="+mj-lt"/>
              </a:defRPr>
            </a:lvl3pPr>
            <a:lvl4pPr>
              <a:defRPr lang="en-US" spc="-30" baseline="0" dirty="0">
                <a:latin typeface="+mj-lt"/>
              </a:defRPr>
            </a:lvl4pPr>
            <a:lvl5pPr>
              <a:defRPr lang="en-US" spc="-30" baseline="0" dirty="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B323B00C-96FB-4081-B8B9-D8A0249853F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35407" y="928048"/>
            <a:ext cx="7552044" cy="4804012"/>
          </a:xfrm>
          <a:solidFill>
            <a:schemeClr val="bg1"/>
          </a:solidFill>
        </p:spPr>
        <p:txBody>
          <a:bodyPr lIns="274320" tIns="274320" rIns="274320" bIns="1737360" anchor="ctr"/>
          <a:lstStyle>
            <a:lvl1pPr algn="ctr">
              <a:defRPr spc="-30" baseline="0">
                <a:latin typeface="+mj-lt"/>
              </a:defRPr>
            </a:lvl1pPr>
          </a:lstStyle>
          <a:p>
            <a:r>
              <a:rPr lang="en-US" dirty="0"/>
              <a:t>Click the icon to add a product shot here. </a:t>
            </a:r>
          </a:p>
          <a:p>
            <a:r>
              <a:rPr lang="en-US" dirty="0"/>
              <a:t>Ideally the screen shot should be a full-screen capture at high resolution in 16:10 ratio.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791F95F-8461-48E0-97BC-86CE7B885A1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9600" y="6363788"/>
            <a:ext cx="1295399" cy="200449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540C6A0E-B175-4DAF-B11A-44FE9A1A533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28ACED1-B1C0-48BA-B600-F1DCB4001F3A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8729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g Mercury Cover">
    <p:bg>
      <p:bgPr>
        <a:gradFill>
          <a:gsLst>
            <a:gs pos="0">
              <a:srgbClr val="95E8F0"/>
            </a:gs>
            <a:gs pos="100000">
              <a:srgbClr val="020249"/>
            </a:gs>
            <a:gs pos="83000">
              <a:srgbClr val="02126F"/>
            </a:gs>
            <a:gs pos="51000">
              <a:srgbClr val="0231BA"/>
            </a:gs>
            <a:gs pos="25000">
              <a:srgbClr val="29B6C2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ED828BF-D5AB-404F-851A-61D8DA64187F}"/>
              </a:ext>
            </a:extLst>
          </p:cNvPr>
          <p:cNvSpPr/>
          <p:nvPr/>
        </p:nvSpPr>
        <p:spPr>
          <a:xfrm>
            <a:off x="152400" y="0"/>
            <a:ext cx="12039600" cy="6854249"/>
          </a:xfrm>
          <a:prstGeom prst="rect">
            <a:avLst/>
          </a:prstGeom>
          <a:gradFill flip="none" rotWithShape="1">
            <a:gsLst>
              <a:gs pos="0">
                <a:srgbClr val="B511D4"/>
              </a:gs>
              <a:gs pos="13000">
                <a:srgbClr val="7D0AA6">
                  <a:alpha val="90000"/>
                </a:srgbClr>
              </a:gs>
              <a:gs pos="56000">
                <a:srgbClr val="4DC7D1"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pc="-30" baseline="0">
              <a:latin typeface="+mj-lt"/>
            </a:endParaRPr>
          </a:p>
        </p:txBody>
      </p:sp>
      <p:pic>
        <p:nvPicPr>
          <p:cNvPr id="8" name="MHC-Particle-Ring-Vector">
            <a:extLst>
              <a:ext uri="{FF2B5EF4-FFF2-40B4-BE49-F238E27FC236}">
                <a16:creationId xmlns:a16="http://schemas.microsoft.com/office/drawing/2014/main" id="{87AB0F98-9445-44EB-83F9-2AD7B6B6D08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2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1740" r="54838" b="29555"/>
          <a:stretch/>
        </p:blipFill>
        <p:spPr>
          <a:xfrm>
            <a:off x="3048001" y="0"/>
            <a:ext cx="9140058" cy="6857999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87D04E-DEBB-4690-ABC4-3DA39CB92E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801396-9DBA-4F4A-911F-971EC7426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76398"/>
            <a:ext cx="12188058" cy="2926080"/>
          </a:xfrm>
          <a:gradFill flip="none" rotWithShape="1">
            <a:gsLst>
              <a:gs pos="35000">
                <a:srgbClr val="022194">
                  <a:alpha val="90000"/>
                </a:srgbClr>
              </a:gs>
              <a:gs pos="0">
                <a:srgbClr val="02126F"/>
              </a:gs>
              <a:gs pos="100000">
                <a:srgbClr val="4DC7D1">
                  <a:alpha val="45000"/>
                </a:srgbClr>
              </a:gs>
            </a:gsLst>
            <a:lin ang="0" scaled="0"/>
            <a:tileRect/>
          </a:gradFill>
        </p:spPr>
        <p:txBody>
          <a:bodyPr vert="horz" lIns="548640" tIns="182880" rIns="548640" bIns="182880" rtlCol="0" anchor="ctr">
            <a:normAutofit/>
          </a:bodyPr>
          <a:lstStyle>
            <a:lvl1pPr>
              <a:defRPr lang="en-US" sz="4400" spc="-3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B5B4751-D81C-40EE-92E7-3325985E1E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599" y="4572000"/>
            <a:ext cx="8229599" cy="109728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1600" spc="-30" baseline="0">
                <a:solidFill>
                  <a:srgbClr val="95E8F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3D82378-964B-45AC-A8C1-141FBB5851F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6287" y="5924074"/>
            <a:ext cx="1603513" cy="248126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4A306180-ED53-4B92-A01B-6A5E9D796CB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EF56D428-42AF-4F3B-A24B-FCBD7F513F5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02974" y="824865"/>
            <a:ext cx="2743200" cy="394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5484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g Mercury Photo Cover">
    <p:bg>
      <p:bgPr>
        <a:gradFill>
          <a:gsLst>
            <a:gs pos="0">
              <a:srgbClr val="95E8F0"/>
            </a:gs>
            <a:gs pos="100000">
              <a:srgbClr val="020249"/>
            </a:gs>
            <a:gs pos="83000">
              <a:srgbClr val="02126F"/>
            </a:gs>
            <a:gs pos="51000">
              <a:srgbClr val="0231BA"/>
            </a:gs>
            <a:gs pos="25000">
              <a:srgbClr val="29B6C2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7701EE6D-BBBF-4B2F-B3E8-EC349762ABC1}"/>
              </a:ext>
            </a:extLst>
          </p:cNvPr>
          <p:cNvSpPr/>
          <p:nvPr/>
        </p:nvSpPr>
        <p:spPr>
          <a:xfrm>
            <a:off x="152400" y="0"/>
            <a:ext cx="12039600" cy="6854249"/>
          </a:xfrm>
          <a:prstGeom prst="rect">
            <a:avLst/>
          </a:prstGeom>
          <a:gradFill flip="none" rotWithShape="1">
            <a:gsLst>
              <a:gs pos="0">
                <a:srgbClr val="B511D4"/>
              </a:gs>
              <a:gs pos="13000">
                <a:srgbClr val="7D0AA6">
                  <a:alpha val="90000"/>
                </a:srgbClr>
              </a:gs>
              <a:gs pos="56000">
                <a:srgbClr val="4DC7D1"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pc="-30" baseline="0">
              <a:latin typeface="+mj-lt"/>
            </a:endParaRPr>
          </a:p>
        </p:txBody>
      </p:sp>
      <p:pic>
        <p:nvPicPr>
          <p:cNvPr id="11" name="MHC-Particle-Ring-Vector">
            <a:extLst>
              <a:ext uri="{FF2B5EF4-FFF2-40B4-BE49-F238E27FC236}">
                <a16:creationId xmlns:a16="http://schemas.microsoft.com/office/drawing/2014/main" id="{D94729B0-A110-4D28-8FA5-DB248F024AC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1979" r="42017" b="19317"/>
          <a:stretch/>
        </p:blipFill>
        <p:spPr>
          <a:xfrm>
            <a:off x="457201" y="-1"/>
            <a:ext cx="11734800" cy="6858001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87D04E-DEBB-4690-ABC4-3DA39CB92E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801396-9DBA-4F4A-911F-971EC7426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73352"/>
            <a:ext cx="12192000" cy="2926080"/>
          </a:xfrm>
          <a:gradFill flip="none" rotWithShape="1">
            <a:gsLst>
              <a:gs pos="35000">
                <a:srgbClr val="022194">
                  <a:alpha val="90000"/>
                </a:srgbClr>
              </a:gs>
              <a:gs pos="0">
                <a:srgbClr val="02126F"/>
              </a:gs>
              <a:gs pos="100000">
                <a:srgbClr val="4DC7D1">
                  <a:alpha val="45000"/>
                </a:srgbClr>
              </a:gs>
            </a:gsLst>
            <a:lin ang="0" scaled="0"/>
            <a:tileRect/>
          </a:gradFill>
        </p:spPr>
        <p:txBody>
          <a:bodyPr vert="horz" lIns="548640" tIns="182880" rIns="548640" bIns="182880" rtlCol="0" anchor="ctr">
            <a:normAutofit/>
          </a:bodyPr>
          <a:lstStyle>
            <a:lvl1pPr>
              <a:defRPr lang="en-US" sz="4400" spc="-3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B5B4751-D81C-40EE-92E7-3325985E1E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599" y="4572000"/>
            <a:ext cx="8153401" cy="109728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1600" spc="-30" baseline="0">
                <a:solidFill>
                  <a:srgbClr val="95E8F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C05DC46-F69E-4254-B081-F6B3DFEDE20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6287" y="5924074"/>
            <a:ext cx="1603513" cy="248126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F8A6F90B-2730-4D4F-9E27-685B7FE062F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11C864E-0282-4375-845B-CECA6BF9B01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</p:spPr>
        <p:txBody>
          <a:bodyPr lIns="182880" tIns="182880" rIns="182880" bIns="182880"/>
          <a:lstStyle>
            <a:lvl1pPr>
              <a:defRPr spc="-30" baseline="0">
                <a:latin typeface="+mj-lt"/>
              </a:defRPr>
            </a:lvl1pPr>
          </a:lstStyle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Insert cover photo. Please use the Photoshop template to create images with clipping path silhouettes. After inserting, move in front of the dark blue title block.</a:t>
            </a:r>
          </a:p>
          <a:p>
            <a:endParaRPr lang="en-US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CA52DE4E-0CD4-4EC6-AF46-0036E9B6645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02974" y="824865"/>
            <a:ext cx="2743200" cy="394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7311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g Mercury Section Divider">
    <p:bg>
      <p:bgPr>
        <a:gradFill>
          <a:gsLst>
            <a:gs pos="0">
              <a:srgbClr val="95E8F0"/>
            </a:gs>
            <a:gs pos="100000">
              <a:srgbClr val="020249"/>
            </a:gs>
            <a:gs pos="83000">
              <a:srgbClr val="02126F"/>
            </a:gs>
            <a:gs pos="51000">
              <a:srgbClr val="0231BA"/>
            </a:gs>
            <a:gs pos="25000">
              <a:srgbClr val="29B6C2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8C4ED88-4868-4FBB-9575-F569E8B5508E}"/>
              </a:ext>
            </a:extLst>
          </p:cNvPr>
          <p:cNvSpPr/>
          <p:nvPr/>
        </p:nvSpPr>
        <p:spPr>
          <a:xfrm>
            <a:off x="152400" y="0"/>
            <a:ext cx="12039600" cy="6854249"/>
          </a:xfrm>
          <a:prstGeom prst="rect">
            <a:avLst/>
          </a:prstGeom>
          <a:gradFill flip="none" rotWithShape="1">
            <a:gsLst>
              <a:gs pos="0">
                <a:srgbClr val="B511D4"/>
              </a:gs>
              <a:gs pos="13000">
                <a:srgbClr val="7D0AA6">
                  <a:alpha val="90000"/>
                </a:srgbClr>
              </a:gs>
              <a:gs pos="56000">
                <a:srgbClr val="4DC7D1"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pc="-30" baseline="0">
              <a:latin typeface="+mj-lt"/>
            </a:endParaRPr>
          </a:p>
        </p:txBody>
      </p:sp>
      <p:pic>
        <p:nvPicPr>
          <p:cNvPr id="14" name="MHC-Particle-Ring-Vector">
            <a:extLst>
              <a:ext uri="{FF2B5EF4-FFF2-40B4-BE49-F238E27FC236}">
                <a16:creationId xmlns:a16="http://schemas.microsoft.com/office/drawing/2014/main" id="{B2700E4C-6F99-48D0-A328-0AB2370A842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36452" b="31356"/>
          <a:stretch/>
        </p:blipFill>
        <p:spPr>
          <a:xfrm>
            <a:off x="5203174" y="2496517"/>
            <a:ext cx="6988826" cy="4357731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87D04E-DEBB-4690-ABC4-3DA39CB92E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801396-9DBA-4F4A-911F-971EC7426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186889"/>
            <a:ext cx="9067800" cy="2057400"/>
          </a:xfrm>
        </p:spPr>
        <p:txBody>
          <a:bodyPr anchor="t">
            <a:normAutofit/>
          </a:bodyPr>
          <a:lstStyle>
            <a:lvl1pPr>
              <a:defRPr lang="en-US" sz="4800" b="0" i="0" spc="-3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B5B4751-D81C-40EE-92E7-3325985E1E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940068"/>
            <a:ext cx="9067800" cy="547966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1800" spc="300" baseline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CFEC2DE0-4AC1-4DF3-8B1C-4287EFA7519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6287" y="6367577"/>
            <a:ext cx="1303737" cy="201739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312408CF-99B5-4F7F-B09D-D0D43D595DB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r="26688"/>
          <a:stretch/>
        </p:blipFill>
        <p:spPr>
          <a:xfrm>
            <a:off x="43896" y="2516395"/>
            <a:ext cx="9633504" cy="353102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321B4F49-F1CC-4920-8370-8EB1E206394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02974" y="1152099"/>
            <a:ext cx="1987826" cy="28575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C40DBE-DFC9-40A4-B493-48EE487242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9801" y="-1"/>
            <a:ext cx="1744556" cy="6854249"/>
          </a:xfrm>
          <a:gradFill flip="none" rotWithShape="1">
            <a:gsLst>
              <a:gs pos="71000">
                <a:srgbClr val="022194">
                  <a:alpha val="80000"/>
                </a:srgbClr>
              </a:gs>
              <a:gs pos="100000">
                <a:srgbClr val="450277"/>
              </a:gs>
              <a:gs pos="0">
                <a:srgbClr val="4DC7D1">
                  <a:alpha val="50000"/>
                </a:srgbClr>
              </a:gs>
            </a:gsLst>
            <a:lin ang="5400000" scaled="0"/>
            <a:tileRect/>
          </a:gradFill>
        </p:spPr>
        <p:txBody>
          <a:bodyPr vert="horz" lIns="91440" tIns="182880" rIns="91440" bIns="457200" rtlCol="0"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lang="en-US" sz="9600" b="1" spc="-300" baseline="0" dirty="0">
                <a:ln w="12700">
                  <a:solidFill>
                    <a:srgbClr val="95E8F0"/>
                  </a:solidFill>
                </a:ln>
                <a:noFill/>
                <a:latin typeface="+mj-lt"/>
                <a:ea typeface="+mj-ea"/>
                <a:cs typeface="+mj-cs"/>
              </a:defRPr>
            </a:lvl1pPr>
          </a:lstStyle>
          <a:p>
            <a:pPr marL="169863" lvl="0" indent="-169863" algn="ctr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5D9BA7C-9874-4577-BA05-F38C34F3675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2415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g Fusion Cover">
    <p:bg>
      <p:bgPr>
        <a:gradFill>
          <a:gsLst>
            <a:gs pos="0">
              <a:srgbClr val="FFC152"/>
            </a:gs>
            <a:gs pos="100000">
              <a:srgbClr val="450277"/>
            </a:gs>
            <a:gs pos="75000">
              <a:srgbClr val="B10500"/>
            </a:gs>
            <a:gs pos="45000">
              <a:srgbClr val="FD5B1A"/>
            </a:gs>
            <a:gs pos="25000">
              <a:srgbClr val="FFAB21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Hg Fusion Digital Lines R Opt">
            <a:extLst>
              <a:ext uri="{FF2B5EF4-FFF2-40B4-BE49-F238E27FC236}">
                <a16:creationId xmlns:a16="http://schemas.microsoft.com/office/drawing/2014/main" id="{8039A2DE-08FD-4C43-B92E-C0306BDDA69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136" r="4401"/>
          <a:stretch/>
        </p:blipFill>
        <p:spPr>
          <a:xfrm flipV="1">
            <a:off x="3756229" y="3276597"/>
            <a:ext cx="8439084" cy="3581403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87D04E-DEBB-4690-ABC4-3DA39CB92E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aseline="0"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801396-9DBA-4F4A-911F-971EC7426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73352"/>
            <a:ext cx="12192000" cy="2926080"/>
          </a:xfrm>
          <a:gradFill flip="none" rotWithShape="1">
            <a:gsLst>
              <a:gs pos="20000">
                <a:srgbClr val="B10500">
                  <a:alpha val="80000"/>
                </a:srgbClr>
              </a:gs>
              <a:gs pos="0">
                <a:srgbClr val="450277"/>
              </a:gs>
              <a:gs pos="100000">
                <a:srgbClr val="EB8B11">
                  <a:alpha val="75000"/>
                </a:srgbClr>
              </a:gs>
            </a:gsLst>
            <a:lin ang="0" scaled="0"/>
            <a:tileRect/>
          </a:gradFill>
        </p:spPr>
        <p:txBody>
          <a:bodyPr vert="horz" lIns="548640" tIns="182880" rIns="548640" bIns="182880" rtlCol="0" anchor="ctr">
            <a:normAutofit/>
          </a:bodyPr>
          <a:lstStyle>
            <a:lvl1pPr>
              <a:defRPr lang="en-US" sz="440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B5B4751-D81C-40EE-92E7-3325985E1E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599" y="4572000"/>
            <a:ext cx="9372599" cy="109728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AAE2E19-6318-4F40-A7A9-594319937EF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6287" y="5924074"/>
            <a:ext cx="1603513" cy="248126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28695E30-03BB-4731-AFEB-61232E6B2A5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9600" y="824865"/>
            <a:ext cx="2245995" cy="39433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C2EBED35-58DC-49D5-8194-9234348E5CD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7035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g Fusion Photo Cover">
    <p:bg>
      <p:bgPr>
        <a:gradFill>
          <a:gsLst>
            <a:gs pos="0">
              <a:srgbClr val="FFC152"/>
            </a:gs>
            <a:gs pos="100000">
              <a:srgbClr val="450277"/>
            </a:gs>
            <a:gs pos="75000">
              <a:srgbClr val="B10500"/>
            </a:gs>
            <a:gs pos="45000">
              <a:srgbClr val="FD5B1A"/>
            </a:gs>
            <a:gs pos="25000">
              <a:srgbClr val="FFAB21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Hg Fusion Digital Lines R Opt">
            <a:extLst>
              <a:ext uri="{FF2B5EF4-FFF2-40B4-BE49-F238E27FC236}">
                <a16:creationId xmlns:a16="http://schemas.microsoft.com/office/drawing/2014/main" id="{F5F353F9-2CC6-4A2D-A21F-481824D2F76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136" r="4401"/>
          <a:stretch/>
        </p:blipFill>
        <p:spPr>
          <a:xfrm flipV="1">
            <a:off x="3756229" y="3276597"/>
            <a:ext cx="8439084" cy="3581403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87D04E-DEBB-4690-ABC4-3DA39CB92E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aseline="0"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801396-9DBA-4F4A-911F-971EC7426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673352"/>
            <a:ext cx="12192000" cy="2926080"/>
          </a:xfrm>
          <a:gradFill flip="none" rotWithShape="1">
            <a:gsLst>
              <a:gs pos="20000">
                <a:srgbClr val="B10500">
                  <a:alpha val="80000"/>
                </a:srgbClr>
              </a:gs>
              <a:gs pos="0">
                <a:srgbClr val="450277"/>
              </a:gs>
              <a:gs pos="100000">
                <a:srgbClr val="EB8B11">
                  <a:alpha val="75000"/>
                </a:srgbClr>
              </a:gs>
            </a:gsLst>
            <a:lin ang="0" scaled="0"/>
            <a:tileRect/>
          </a:gradFill>
        </p:spPr>
        <p:txBody>
          <a:bodyPr vert="horz" lIns="548640" tIns="182880" rIns="548640" bIns="182880" rtlCol="0" anchor="ctr">
            <a:normAutofit/>
          </a:bodyPr>
          <a:lstStyle>
            <a:lvl1pPr>
              <a:defRPr lang="en-US" sz="440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B5B4751-D81C-40EE-92E7-3325985E1E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599" y="4572000"/>
            <a:ext cx="6400799" cy="109728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1C2F043-2B4D-42AD-B058-1A30C354F2C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6287" y="5924074"/>
            <a:ext cx="1603513" cy="248126"/>
          </a:xfrm>
          <a:prstGeom prst="rect">
            <a:avLst/>
          </a:prstGeom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C207C32-B4E4-49DE-8C32-F463D27495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</p:spPr>
        <p:txBody>
          <a:bodyPr lIns="182880" tIns="182880" rIns="182880" bIns="182880"/>
          <a:lstStyle>
            <a:lvl1pPr marL="0" indent="0">
              <a:buNone/>
              <a:defRPr baseline="0">
                <a:latin typeface="+mj-lt"/>
              </a:defRPr>
            </a:lvl1pPr>
          </a:lstStyle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Insert cover photo. Please use the Photoshop template to create images with clipping path silhouettes. After inserting, move in front of the dark title block.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9C60EEB-AB59-4944-811D-AE31B94412F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9600" y="824865"/>
            <a:ext cx="2245995" cy="394335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8C0CBCC8-FCAE-4FFD-AEBA-15D9860DF89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7302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g Fusion Section Divider">
    <p:bg>
      <p:bgPr>
        <a:gradFill>
          <a:gsLst>
            <a:gs pos="0">
              <a:srgbClr val="FFC152"/>
            </a:gs>
            <a:gs pos="100000">
              <a:srgbClr val="450277"/>
            </a:gs>
            <a:gs pos="75000">
              <a:srgbClr val="B10500"/>
            </a:gs>
            <a:gs pos="45000">
              <a:srgbClr val="FD5B1A"/>
            </a:gs>
            <a:gs pos="25000">
              <a:srgbClr val="FFAB21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Hg Fusion Digital Lines R Opt">
            <a:extLst>
              <a:ext uri="{FF2B5EF4-FFF2-40B4-BE49-F238E27FC236}">
                <a16:creationId xmlns:a16="http://schemas.microsoft.com/office/drawing/2014/main" id="{47D4ED5C-0BEA-4CE2-80D7-84219A9F54D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t="1136" r="4401"/>
          <a:stretch/>
        </p:blipFill>
        <p:spPr>
          <a:xfrm flipV="1">
            <a:off x="3756229" y="3276597"/>
            <a:ext cx="8439084" cy="3581403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87D04E-DEBB-4690-ABC4-3DA39CB92E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801396-9DBA-4F4A-911F-971EC7426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186889"/>
            <a:ext cx="9067800" cy="2057400"/>
          </a:xfrm>
        </p:spPr>
        <p:txBody>
          <a:bodyPr anchor="t">
            <a:normAutofit/>
          </a:bodyPr>
          <a:lstStyle>
            <a:lvl1pPr>
              <a:defRPr lang="en-US" sz="4800" b="0" i="0" spc="-3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B5B4751-D81C-40EE-92E7-3325985E1E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938528"/>
            <a:ext cx="9067800" cy="547966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1800" spc="300" baseline="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8826454-080E-4E43-90A2-1823C0EBF91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9601" y="6367578"/>
            <a:ext cx="1295399" cy="200449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D0A25336-2F77-46F7-92D8-1B304A3D9FE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r="26688"/>
          <a:stretch/>
        </p:blipFill>
        <p:spPr>
          <a:xfrm>
            <a:off x="43896" y="2516395"/>
            <a:ext cx="9633504" cy="353102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5ECDE460-0EE0-41B4-A985-048BDFF3D6D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7644" y="1160611"/>
            <a:ext cx="1627533" cy="28575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CC40DBE-DFC9-40A4-B493-48EE487242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9801" y="1"/>
            <a:ext cx="1744555" cy="6854248"/>
          </a:xfrm>
          <a:gradFill flip="none" rotWithShape="1">
            <a:gsLst>
              <a:gs pos="80000">
                <a:srgbClr val="B10500">
                  <a:alpha val="80000"/>
                </a:srgbClr>
              </a:gs>
              <a:gs pos="100000">
                <a:srgbClr val="450277"/>
              </a:gs>
              <a:gs pos="0">
                <a:srgbClr val="D76A00">
                  <a:alpha val="20000"/>
                </a:srgbClr>
              </a:gs>
            </a:gsLst>
            <a:lin ang="5400000" scaled="0"/>
            <a:tileRect/>
          </a:gradFill>
        </p:spPr>
        <p:txBody>
          <a:bodyPr vert="horz" lIns="91440" tIns="182880" rIns="91440" bIns="457200" rtlCol="0"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lang="en-US" sz="9600" b="1" spc="-300" baseline="0">
                <a:ln w="12700">
                  <a:solidFill>
                    <a:srgbClr val="FFD682"/>
                  </a:solidFill>
                </a:ln>
                <a:noFill/>
                <a:latin typeface="+mj-lt"/>
                <a:ea typeface="+mj-ea"/>
                <a:cs typeface="+mj-cs"/>
              </a:defRPr>
            </a:lvl1pPr>
          </a:lstStyle>
          <a:p>
            <a:pPr marL="169863" lvl="0" indent="-169863" algn="ctr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A594146-ABDB-4B78-AFA6-814CF6AA702C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05955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 (Customize 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5545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Standard">
    <p:bg>
      <p:bgPr>
        <a:gradFill>
          <a:gsLst>
            <a:gs pos="0">
              <a:srgbClr val="95E8F0"/>
            </a:gs>
            <a:gs pos="100000">
              <a:srgbClr val="020249"/>
            </a:gs>
            <a:gs pos="83000">
              <a:srgbClr val="02126F"/>
            </a:gs>
            <a:gs pos="51000">
              <a:srgbClr val="0231BA"/>
            </a:gs>
            <a:gs pos="25000">
              <a:srgbClr val="29B6C2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60EC429D-5053-4769-906F-953C5AD95116}"/>
              </a:ext>
            </a:extLst>
          </p:cNvPr>
          <p:cNvSpPr/>
          <p:nvPr/>
        </p:nvSpPr>
        <p:spPr>
          <a:xfrm>
            <a:off x="152400" y="0"/>
            <a:ext cx="12039600" cy="6854249"/>
          </a:xfrm>
          <a:prstGeom prst="rect">
            <a:avLst/>
          </a:prstGeom>
          <a:gradFill flip="none" rotWithShape="1">
            <a:gsLst>
              <a:gs pos="0">
                <a:srgbClr val="B511D4"/>
              </a:gs>
              <a:gs pos="13000">
                <a:srgbClr val="7D0AA6">
                  <a:alpha val="90000"/>
                </a:srgbClr>
              </a:gs>
              <a:gs pos="56000">
                <a:srgbClr val="4DC7D1"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pc="-30" baseline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MHC-Particle-Ring-Vector">
            <a:extLst>
              <a:ext uri="{FF2B5EF4-FFF2-40B4-BE49-F238E27FC236}">
                <a16:creationId xmlns:a16="http://schemas.microsoft.com/office/drawing/2014/main" id="{68961C20-6045-4C34-B07A-DD1634E1A0E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964" r="31986" b="61649"/>
          <a:stretch/>
        </p:blipFill>
        <p:spPr>
          <a:xfrm>
            <a:off x="5257800" y="4419600"/>
            <a:ext cx="6934200" cy="2434649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0C9A61-8159-4AE9-84B7-9B334988DCE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343650"/>
            <a:ext cx="2514600" cy="388232"/>
          </a:xfrm>
        </p:spPr>
        <p:txBody>
          <a:bodyPr/>
          <a:lstStyle>
            <a:lvl1pPr>
              <a:defRPr spc="-30" baseline="0">
                <a:solidFill>
                  <a:srgbClr val="B9F9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053CA9-9246-46C4-96F5-40DABD001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ACB4D5-8EC0-4678-9326-2B1C6634E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ADB7000-1337-4DEC-89DE-4B0E1D5EFE6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09600" y="1428750"/>
            <a:ext cx="7543800" cy="4743450"/>
          </a:xfrm>
        </p:spPr>
        <p:txBody>
          <a:bodyPr lIns="0" tIns="0" rIns="0" bIns="0"/>
          <a:lstStyle>
            <a:lvl1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7AA64D88-4736-4D93-BDE5-3B7D14FF47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89856"/>
            <a:ext cx="7543800" cy="753143"/>
          </a:xfrm>
        </p:spPr>
        <p:txBody>
          <a:bodyPr/>
          <a:lstStyle>
            <a:lvl1pPr>
              <a:defRPr spc="-3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FAB5892-C28D-4E8C-AB1B-AEAF314F4C5B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1"/>
            </p:custDataLst>
          </p:nvPr>
        </p:nvSpPr>
        <p:spPr>
          <a:xfrm>
            <a:off x="8839200" y="0"/>
            <a:ext cx="3352800" cy="6858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ctr">
              <a:defRPr sz="1800"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he icon to insert an optional right sidebar image; make sure this image does not cover any text</a:t>
            </a:r>
          </a:p>
          <a:p>
            <a:r>
              <a:rPr lang="en-US" dirty="0"/>
              <a:t>Or delete this box entirely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41BE9E2-5ED4-4489-8F25-760B975ED78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6287" y="6367577"/>
            <a:ext cx="1303737" cy="201739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EC9823FB-31E4-444F-9331-E69262ED580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69CD42E-5B26-4E96-85EC-C45A7A97B3C3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04000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16="http://schemas.microsoft.com/office/drawing/2014/main" xmlns:a14="http://schemas.microsoft.com/office/drawing/2010/main" xmlns:asvg="http://schemas.microsoft.com/office/drawing/2016/SVG/main">
      <p:transition>
        <p:fade/>
      </p:transition>
    </mc:Fallback>
  </mc:AlternateContent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~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F70CA59-62E2-44BE-8FE2-2D8E96B7239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500" b="1" spc="-30" baseline="0" dirty="0">
                <a:latin typeface="+mj-lt"/>
              </a:rPr>
              <a:t>DO NOT REUSE SLIDE LAYOUTS AFTER THIS</a:t>
            </a:r>
          </a:p>
        </p:txBody>
      </p:sp>
    </p:spTree>
    <p:extLst>
      <p:ext uri="{BB962C8B-B14F-4D97-AF65-F5344CB8AC3E}">
        <p14:creationId xmlns:p14="http://schemas.microsoft.com/office/powerpoint/2010/main" val="1560565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Blue">
    <p:bg>
      <p:bgPr>
        <a:gradFill>
          <a:gsLst>
            <a:gs pos="0">
              <a:srgbClr val="95E8F0"/>
            </a:gs>
            <a:gs pos="100000">
              <a:srgbClr val="020249"/>
            </a:gs>
            <a:gs pos="83000">
              <a:srgbClr val="02126F"/>
            </a:gs>
            <a:gs pos="51000">
              <a:srgbClr val="0231BA"/>
            </a:gs>
            <a:gs pos="25000">
              <a:srgbClr val="29B6C2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8CD631C-9FBB-4A5D-B4A4-4F058ADB2270}"/>
              </a:ext>
            </a:extLst>
          </p:cNvPr>
          <p:cNvSpPr/>
          <p:nvPr/>
        </p:nvSpPr>
        <p:spPr>
          <a:xfrm>
            <a:off x="152400" y="0"/>
            <a:ext cx="12039600" cy="6854249"/>
          </a:xfrm>
          <a:prstGeom prst="rect">
            <a:avLst/>
          </a:prstGeom>
          <a:gradFill flip="none" rotWithShape="1">
            <a:gsLst>
              <a:gs pos="0">
                <a:srgbClr val="B511D4"/>
              </a:gs>
              <a:gs pos="13000">
                <a:srgbClr val="7D0AA6">
                  <a:alpha val="90000"/>
                </a:srgbClr>
              </a:gs>
              <a:gs pos="56000">
                <a:srgbClr val="4DC7D1"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pc="-30" baseline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0C9A61-8159-4AE9-84B7-9B334988DCE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39200" y="6343650"/>
            <a:ext cx="2743200" cy="388232"/>
          </a:xfrm>
        </p:spPr>
        <p:txBody>
          <a:bodyPr/>
          <a:lstStyle>
            <a:lvl1pPr>
              <a:defRPr sz="700" spc="-30" baseline="0">
                <a:solidFill>
                  <a:srgbClr val="B9F9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053CA9-9246-46C4-96F5-40DABD001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700" spc="-30" baseline="0">
                <a:solidFill>
                  <a:srgbClr val="A1ABB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ACB4D5-8EC0-4678-9326-2B1C6634E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/>
          <a:lstStyle>
            <a:lvl1pPr>
              <a:defRPr spc="-3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BED98C8-EFB4-4014-A946-BEE517508970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7CA806E-65D8-4395-AF8E-4D15B6C33B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89856"/>
            <a:ext cx="10972800" cy="753143"/>
          </a:xfrm>
        </p:spPr>
        <p:txBody>
          <a:bodyPr/>
          <a:lstStyle>
            <a:lvl1pPr>
              <a:defRPr spc="-3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2709CD9F-8110-4A0A-98F5-B737E90B65D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0134600" y="6178248"/>
            <a:ext cx="2057400" cy="6797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34E3628E-BA48-4EAB-AB2B-BEC88BA995C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6287" y="6367577"/>
            <a:ext cx="1303737" cy="201739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2F644111-ACCB-41DB-922B-5B3257C3CA1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C37FD56-E3F7-4067-8006-59491251F097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26119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svg="http://schemas.microsoft.com/office/drawing/2016/SVG/main" xmlns:a14="http://schemas.microsoft.com/office/drawing/2010/main" xmlns:a16="http://schemas.microsoft.com/office/drawing/2014/main">
      <p:transition>
        <p:fade/>
      </p:transition>
    </mc:Fallback>
  </mc:AlternateContent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Closing Slide">
    <p:bg>
      <p:bgPr>
        <a:gradFill>
          <a:gsLst>
            <a:gs pos="0">
              <a:srgbClr val="95E8F0"/>
            </a:gs>
            <a:gs pos="100000">
              <a:srgbClr val="020249"/>
            </a:gs>
            <a:gs pos="83000">
              <a:srgbClr val="02126F"/>
            </a:gs>
            <a:gs pos="51000">
              <a:srgbClr val="0231BA"/>
            </a:gs>
            <a:gs pos="25000">
              <a:srgbClr val="29B6C2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24CC05C-093F-415C-98D8-983CD2437FBA}"/>
              </a:ext>
            </a:extLst>
          </p:cNvPr>
          <p:cNvSpPr/>
          <p:nvPr/>
        </p:nvSpPr>
        <p:spPr>
          <a:xfrm>
            <a:off x="152400" y="0"/>
            <a:ext cx="12039600" cy="6854249"/>
          </a:xfrm>
          <a:prstGeom prst="rect">
            <a:avLst/>
          </a:prstGeom>
          <a:gradFill flip="none" rotWithShape="1">
            <a:gsLst>
              <a:gs pos="0">
                <a:srgbClr val="B511D4"/>
              </a:gs>
              <a:gs pos="13000">
                <a:srgbClr val="7D0AA6">
                  <a:alpha val="90000"/>
                </a:srgbClr>
              </a:gs>
              <a:gs pos="56000">
                <a:srgbClr val="4DC7D1"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C49FF2-22EE-4803-A363-F60B4BF73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838200"/>
            <a:ext cx="6934200" cy="2686379"/>
          </a:xfrm>
        </p:spPr>
        <p:txBody>
          <a:bodyPr anchor="b">
            <a:normAutofit/>
          </a:bodyPr>
          <a:lstStyle>
            <a:lvl1pPr algn="l">
              <a:defRPr sz="5400" b="0" i="1" cap="none" spc="0" baseline="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3FF4481-EB02-43D0-96E9-77A687528D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9600" y="4518191"/>
            <a:ext cx="2809950" cy="434809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A24A542-1BDE-448D-A079-969D25677BF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r="26688"/>
          <a:stretch/>
        </p:blipFill>
        <p:spPr>
          <a:xfrm>
            <a:off x="43896" y="3810000"/>
            <a:ext cx="9633504" cy="35310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D58A04B-D92A-480E-A17A-21FB5E93B21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77574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Basic Agenda">
    <p:bg>
      <p:bgPr>
        <a:gradFill>
          <a:gsLst>
            <a:gs pos="0">
              <a:srgbClr val="95E8F0"/>
            </a:gs>
            <a:gs pos="100000">
              <a:srgbClr val="020249"/>
            </a:gs>
            <a:gs pos="83000">
              <a:srgbClr val="02126F"/>
            </a:gs>
            <a:gs pos="51000">
              <a:srgbClr val="0231BA"/>
            </a:gs>
            <a:gs pos="25000">
              <a:srgbClr val="29B6C2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E7CFAB3-B188-4DBF-9C0E-5E8C7779E65D}"/>
              </a:ext>
            </a:extLst>
          </p:cNvPr>
          <p:cNvSpPr/>
          <p:nvPr/>
        </p:nvSpPr>
        <p:spPr>
          <a:xfrm>
            <a:off x="152400" y="0"/>
            <a:ext cx="12039600" cy="6854249"/>
          </a:xfrm>
          <a:prstGeom prst="rect">
            <a:avLst/>
          </a:prstGeom>
          <a:gradFill flip="none" rotWithShape="1">
            <a:gsLst>
              <a:gs pos="0">
                <a:srgbClr val="B511D4"/>
              </a:gs>
              <a:gs pos="13000">
                <a:srgbClr val="7D0AA6">
                  <a:alpha val="90000"/>
                </a:srgbClr>
              </a:gs>
              <a:gs pos="56000">
                <a:srgbClr val="4DC7D1"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pc="-30" baseline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MHC-Particle-Ring-Vector">
            <a:extLst>
              <a:ext uri="{FF2B5EF4-FFF2-40B4-BE49-F238E27FC236}">
                <a16:creationId xmlns:a16="http://schemas.microsoft.com/office/drawing/2014/main" id="{8FDD6713-E2ED-44EB-A572-4E807333819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3836" b="45968"/>
          <a:stretch/>
        </p:blipFill>
        <p:spPr>
          <a:xfrm>
            <a:off x="-1" y="3287479"/>
            <a:ext cx="6429613" cy="3570521"/>
          </a:xfrm>
          <a:prstGeom prst="rect">
            <a:avLst/>
          </a:prstGeom>
        </p:spPr>
      </p:pic>
      <p:pic>
        <p:nvPicPr>
          <p:cNvPr id="2" name="Ring Style 3 Cropped" hidden="1">
            <a:extLst>
              <a:ext uri="{FF2B5EF4-FFF2-40B4-BE49-F238E27FC236}">
                <a16:creationId xmlns:a16="http://schemas.microsoft.com/office/drawing/2014/main" id="{172C6410-2D54-40E3-9CBB-8374A7D776C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7490" t="56323" r="59298" b="21100"/>
          <a:stretch/>
        </p:blipFill>
        <p:spPr>
          <a:xfrm>
            <a:off x="0" y="1428750"/>
            <a:ext cx="5562600" cy="5429250"/>
          </a:xfrm>
          <a:prstGeom prst="snip1Rect">
            <a:avLst>
              <a:gd name="adj" fmla="val 50000"/>
            </a:avLst>
          </a:prstGeom>
        </p:spPr>
      </p:pic>
      <p:sp>
        <p:nvSpPr>
          <p:cNvPr id="24" name="Agenda Title">
            <a:extLst>
              <a:ext uri="{FF2B5EF4-FFF2-40B4-BE49-F238E27FC236}">
                <a16:creationId xmlns:a16="http://schemas.microsoft.com/office/drawing/2014/main" id="{29A865FF-D62A-4920-BF5F-F26903562B2C}"/>
              </a:ext>
            </a:extLst>
          </p:cNvPr>
          <p:cNvSpPr/>
          <p:nvPr/>
        </p:nvSpPr>
        <p:spPr>
          <a:xfrm>
            <a:off x="618564" y="0"/>
            <a:ext cx="4114800" cy="12228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2800" b="1" spc="-30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0C9A61-8159-4AE9-84B7-9B334988DCE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67800" y="6343650"/>
            <a:ext cx="2514600" cy="388232"/>
          </a:xfrm>
        </p:spPr>
        <p:txBody>
          <a:bodyPr/>
          <a:lstStyle>
            <a:lvl1pPr>
              <a:defRPr spc="-30" baseline="0">
                <a:solidFill>
                  <a:srgbClr val="B9F9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053CA9-9246-46C4-96F5-40DABD001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ACB4D5-8EC0-4678-9326-2B1C6634E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ADB7000-1337-4DEC-89DE-4B0E1D5EFE6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895600" y="1428750"/>
            <a:ext cx="8686800" cy="4743450"/>
          </a:xfrm>
        </p:spPr>
        <p:txBody>
          <a:bodyPr lIns="0" tIns="0" rIns="0" bIns="0"/>
          <a:lstStyle>
            <a:lvl1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C918A1A-A8BD-4CBF-B02C-679061D3FCA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06287" y="6367577"/>
            <a:ext cx="1303737" cy="201739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131EC4A8-BAF1-4E28-88B8-4C04CD8FBA4C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C219E16-3AD6-45C2-8841-F1C1EA4644C5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73303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 Slide">
    <p:bg>
      <p:bgPr>
        <a:gradFill>
          <a:gsLst>
            <a:gs pos="0">
              <a:srgbClr val="95E8F0"/>
            </a:gs>
            <a:gs pos="100000">
              <a:srgbClr val="020249"/>
            </a:gs>
            <a:gs pos="83000">
              <a:srgbClr val="02126F"/>
            </a:gs>
            <a:gs pos="51000">
              <a:srgbClr val="0231BA"/>
            </a:gs>
            <a:gs pos="25000">
              <a:srgbClr val="29B6C2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805E34DF-0373-4981-A0A6-0BBA7F781E39}"/>
              </a:ext>
            </a:extLst>
          </p:cNvPr>
          <p:cNvSpPr/>
          <p:nvPr/>
        </p:nvSpPr>
        <p:spPr>
          <a:xfrm>
            <a:off x="152400" y="0"/>
            <a:ext cx="12039600" cy="6854249"/>
          </a:xfrm>
          <a:prstGeom prst="rect">
            <a:avLst/>
          </a:prstGeom>
          <a:gradFill flip="none" rotWithShape="1">
            <a:gsLst>
              <a:gs pos="0">
                <a:srgbClr val="B511D4"/>
              </a:gs>
              <a:gs pos="13000">
                <a:srgbClr val="7D0AA6">
                  <a:alpha val="90000"/>
                </a:srgbClr>
              </a:gs>
              <a:gs pos="56000">
                <a:srgbClr val="4DC7D1"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pc="-30" baseline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3FAEF655-43B0-4BC5-BFA1-C0A15F8128D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6287" y="6367577"/>
            <a:ext cx="1303737" cy="201739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053CA9-9246-46C4-96F5-40DABD001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ACB4D5-8EC0-4678-9326-2B1C6634E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ADB7000-1337-4DEC-89DE-4B0E1D5EFE6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09600" y="3938588"/>
            <a:ext cx="3425824" cy="1941557"/>
          </a:xfrm>
        </p:spPr>
        <p:txBody>
          <a:bodyPr wrap="square" lIns="0" tIns="0" rIns="0" bIns="0" numCol="1" spcCol="457200">
            <a:spAutoFit/>
          </a:bodyPr>
          <a:lstStyle>
            <a:lvl1pPr marL="0" indent="0" algn="ctr">
              <a:buNone/>
              <a:defRPr b="1"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ctr">
              <a:buNone/>
              <a:defRPr sz="1800" spc="-3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 algn="ctr">
              <a:buNone/>
              <a:defRPr sz="1600" spc="-3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 algn="ctr">
              <a:buNone/>
              <a:defRPr sz="1400" spc="-3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 algn="ctr">
              <a:buNone/>
              <a:defRPr sz="1400" spc="-30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8C29313-1963-4EC4-A709-6226ED8F115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104177" y="1447800"/>
            <a:ext cx="2436670" cy="2209800"/>
          </a:xfrm>
          <a:solidFill>
            <a:schemeClr val="bg1"/>
          </a:solidFill>
        </p:spPr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icon to add speaker’s photo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9970C0E-6F63-4431-BE47-2892C63E5F7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875037" y="1447800"/>
            <a:ext cx="2436670" cy="2209800"/>
          </a:xfrm>
          <a:solidFill>
            <a:schemeClr val="bg1"/>
          </a:solidFill>
        </p:spPr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icon to add speaker’s photo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2CD5811-0FDC-420B-81BF-BEBB05F2A8C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645898" y="1447800"/>
            <a:ext cx="2436670" cy="2209800"/>
          </a:xfrm>
          <a:solidFill>
            <a:schemeClr val="bg1"/>
          </a:solidFill>
        </p:spPr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icon to add speaker’s photo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4572C9CE-637A-46E4-9B44-DDCDC504EAE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380459" y="3938589"/>
            <a:ext cx="3425824" cy="1941557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b="1"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ctr">
              <a:buNone/>
              <a:defRPr sz="1800" spc="-3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 algn="ctr">
              <a:buNone/>
              <a:defRPr sz="1600" spc="-3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 algn="ctr">
              <a:buNone/>
              <a:defRPr sz="1400" spc="-3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 algn="ctr">
              <a:buNone/>
              <a:defRPr sz="1400" spc="-30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01D7A629-C125-412B-BB9C-0EF02A95498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151319" y="3938589"/>
            <a:ext cx="3425824" cy="2056972"/>
          </a:xfrm>
        </p:spPr>
        <p:txBody>
          <a:bodyPr lIns="0" tIns="0" rIns="0" bIns="0"/>
          <a:lstStyle>
            <a:lvl1pPr marL="0" indent="0" algn="ctr">
              <a:buNone/>
              <a:defRPr b="1"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ctr">
              <a:buNone/>
              <a:defRPr sz="1800" spc="-3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 algn="ctr">
              <a:buNone/>
              <a:defRPr sz="1600" spc="-3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 algn="ctr">
              <a:buNone/>
              <a:defRPr sz="1400" spc="-3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 algn="ctr">
              <a:buNone/>
              <a:defRPr sz="1400" spc="-30" baseline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6FD1D66-5989-4003-88F7-5B97507714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389856"/>
            <a:ext cx="10972801" cy="753143"/>
          </a:xfrm>
        </p:spPr>
        <p:txBody>
          <a:bodyPr/>
          <a:lstStyle>
            <a:lvl1pPr algn="l">
              <a:defRPr sz="2600" spc="-3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AC5F0C55-9D69-4493-8140-582023566AE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r="53943" b="33471"/>
          <a:stretch/>
        </p:blipFill>
        <p:spPr>
          <a:xfrm>
            <a:off x="43896" y="36755"/>
            <a:ext cx="6052103" cy="234915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3A401C5-F2CC-46F1-8B40-F14C7B4F7A6B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53636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">
    <p:bg>
      <p:bgPr>
        <a:gradFill>
          <a:gsLst>
            <a:gs pos="0">
              <a:srgbClr val="95E8F0"/>
            </a:gs>
            <a:gs pos="100000">
              <a:srgbClr val="020249"/>
            </a:gs>
            <a:gs pos="83000">
              <a:srgbClr val="02126F"/>
            </a:gs>
            <a:gs pos="51000">
              <a:srgbClr val="0231BA"/>
            </a:gs>
            <a:gs pos="25000">
              <a:srgbClr val="29B6C2"/>
            </a:gs>
          </a:gsLst>
          <a:path path="circle">
            <a:fillToRect l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6BC8E7FE-A699-4B94-B001-7A92BAEE0C03}"/>
              </a:ext>
            </a:extLst>
          </p:cNvPr>
          <p:cNvSpPr/>
          <p:nvPr/>
        </p:nvSpPr>
        <p:spPr>
          <a:xfrm>
            <a:off x="152400" y="0"/>
            <a:ext cx="12039600" cy="6854249"/>
          </a:xfrm>
          <a:prstGeom prst="rect">
            <a:avLst/>
          </a:prstGeom>
          <a:gradFill flip="none" rotWithShape="1">
            <a:gsLst>
              <a:gs pos="0">
                <a:srgbClr val="B511D4"/>
              </a:gs>
              <a:gs pos="13000">
                <a:srgbClr val="7D0AA6">
                  <a:alpha val="90000"/>
                </a:srgbClr>
              </a:gs>
              <a:gs pos="56000">
                <a:srgbClr val="4DC7D1">
                  <a:alpha val="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pc="-30" baseline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MHC-Particle-Ring-Vector">
            <a:extLst>
              <a:ext uri="{FF2B5EF4-FFF2-40B4-BE49-F238E27FC236}">
                <a16:creationId xmlns:a16="http://schemas.microsoft.com/office/drawing/2014/main" id="{C6E62387-107B-4FFF-A0DB-8CDE5E4949A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4964" r="31986" b="61649"/>
          <a:stretch/>
        </p:blipFill>
        <p:spPr>
          <a:xfrm>
            <a:off x="5257800" y="4419600"/>
            <a:ext cx="6934200" cy="2434649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053CA9-9246-46C4-96F5-40DABD001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ACB4D5-8EC0-4678-9326-2B1C6634E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/>
          <a:lstStyle>
            <a:lvl1pPr>
              <a:defRPr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B5C3D62-5C5B-431A-850E-4C6C268728E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1" name="Case Study Logo Background">
            <a:extLst>
              <a:ext uri="{FF2B5EF4-FFF2-40B4-BE49-F238E27FC236}">
                <a16:creationId xmlns:a16="http://schemas.microsoft.com/office/drawing/2014/main" id="{DD60277C-275F-41BF-9C7B-221F9E5F3F58}"/>
              </a:ext>
            </a:extLst>
          </p:cNvPr>
          <p:cNvSpPr/>
          <p:nvPr/>
        </p:nvSpPr>
        <p:spPr>
          <a:xfrm>
            <a:off x="8830282" y="1"/>
            <a:ext cx="3361718" cy="91375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spc="-30" baseline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A39F1CA4-7287-4049-B05B-25EAF6E45B9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39834" y="114300"/>
            <a:ext cx="2942614" cy="6858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lang="en-US" spc="-30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insert case study client logo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64CBA46-165E-4DB2-8BBA-5D8AFFF3E7B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9600" y="1428751"/>
            <a:ext cx="9144000" cy="4743450"/>
          </a:xfrm>
        </p:spPr>
        <p:txBody>
          <a:bodyPr lIns="0" tIns="0" rIns="0" bIns="0"/>
          <a:lstStyle>
            <a:lvl1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pc="-3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260CE24-D288-42C9-AD63-D5C749E8AA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89856"/>
            <a:ext cx="8229600" cy="753143"/>
          </a:xfrm>
        </p:spPr>
        <p:txBody>
          <a:bodyPr/>
          <a:lstStyle>
            <a:lvl1pPr>
              <a:defRPr spc="-3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FAB5892-C28D-4E8C-AB1B-AEAF314F4C5B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1"/>
            </p:custDataLst>
          </p:nvPr>
        </p:nvSpPr>
        <p:spPr>
          <a:xfrm>
            <a:off x="8834741" y="914398"/>
            <a:ext cx="3352800" cy="594360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1800" spc="-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he icon to insert an optional right sidebar image; make sure this image does not cover any text</a:t>
            </a:r>
          </a:p>
          <a:p>
            <a:r>
              <a:rPr lang="en-US" dirty="0"/>
              <a:t>Or delete this box entirely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682A81-46F2-4F26-8225-37FAB8D7482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" r="33318" b="33471"/>
          <a:stretch/>
        </p:blipFill>
        <p:spPr>
          <a:xfrm>
            <a:off x="43896" y="36755"/>
            <a:ext cx="8762174" cy="234915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3B69EDCC-6BC8-456F-AC53-D85B721BB77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06287" y="6367577"/>
            <a:ext cx="1303737" cy="20173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E8B27F1-C984-4450-8849-D96C4A2E4ED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609600" y="6629400"/>
            <a:ext cx="5486400" cy="22860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spc="-30" baseline="0">
                <a:solidFill>
                  <a:srgbClr val="9696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opyright 2021 Mercury Healthcare, Inc. All rights reserved. CONFIDENTIAL &amp; PROPRIETARY.</a:t>
            </a:r>
            <a:endParaRPr lang="en-US" sz="600" spc="-30" baseline="0" dirty="0">
              <a:solidFill>
                <a:srgbClr val="9696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9742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495B685-93C9-4126-85A3-5B8191335C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8A6AEF-1AC6-4558-9799-55D98E7083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839199" y="6343650"/>
            <a:ext cx="2743200" cy="38823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 spc="-3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19E40F-6604-4ABC-8B07-EBF8E4FC14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88868"/>
            <a:ext cx="6096000" cy="121532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0" spc="-3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CAAD68-4BFC-4AE1-B4D3-FFCF52FEA2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343650"/>
            <a:ext cx="609600" cy="38823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 b="1" spc="-30" baseline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DBED98C8-EFB4-4014-A946-BEE517508970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empower - DO NOT DELETE!!!" hidden="1">
            <a:extLst>
              <a:ext uri="{FF2B5EF4-FFF2-40B4-BE49-F238E27FC236}">
                <a16:creationId xmlns:a16="http://schemas.microsoft.com/office/drawing/2014/main" id="{E762ED3F-E635-4D11-8760-E47E88F41A59}"/>
              </a:ext>
            </a:extLst>
          </p:cNvPr>
          <p:cNvSpPr/>
          <p:nvPr>
            <p:custDataLst>
              <p:tags r:id="rId4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65C2B73-D6DC-4938-B38E-392CD5EC5D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564" y="1428750"/>
            <a:ext cx="10963835" cy="47434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2836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2" r:id="rId21"/>
    <p:sldLayoutId id="2147483723" r:id="rId22"/>
    <p:sldLayoutId id="2147483724" r:id="rId23"/>
    <p:sldLayoutId id="2147483725" r:id="rId24"/>
    <p:sldLayoutId id="2147483726" r:id="rId25"/>
    <p:sldLayoutId id="2147483727" r:id="rId26"/>
    <p:sldLayoutId id="2147483728" r:id="rId27"/>
    <p:sldLayoutId id="2147483729" r:id="rId28"/>
    <p:sldLayoutId id="2147483730" r:id="rId29"/>
    <p:sldLayoutId id="2147483731" r:id="rId30"/>
    <p:sldLayoutId id="2147483732" r:id="rId31"/>
    <p:sldLayoutId id="2147483733" r:id="rId32"/>
    <p:sldLayoutId id="2147483734" r:id="rId33"/>
    <p:sldLayoutId id="2147483735" r:id="rId34"/>
    <p:sldLayoutId id="2147483736" r:id="rId35"/>
    <p:sldLayoutId id="2147483737" r:id="rId36"/>
    <p:sldLayoutId id="2147483738" r:id="rId37"/>
    <p:sldLayoutId id="2147483739" r:id="rId38"/>
    <p:sldLayoutId id="2147483740" r:id="rId39"/>
    <p:sldLayoutId id="2147483741" r:id="rId4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p15="http://schemas.microsoft.com/office/powerpoint/2012/main" xmlns:a16="http://schemas.microsoft.com/office/drawing/2014/main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1" kern="1200" spc="-30" baseline="0">
          <a:solidFill>
            <a:srgbClr val="02126F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lvl1pPr>
    </p:titleStyle>
    <p:bodyStyle>
      <a:lvl1pPr marL="169863" marR="0" indent="-169863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SzPct val="110000"/>
        <a:buFont typeface="Arial" panose="020B0604020202020204" pitchFamily="34" charset="0"/>
        <a:buChar char="•"/>
        <a:tabLst/>
        <a:defRPr lang="en-US" sz="2000" kern="1200" spc="-30" baseline="0" dirty="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lvl1pPr>
      <a:lvl2pPr marL="398463" marR="0" indent="-168275" algn="l" defTabSz="914400" rtl="0" eaLnBrk="1" fontAlgn="auto" latinLnBrk="0" hangingPunct="1">
        <a:lnSpc>
          <a:spcPct val="100000"/>
        </a:lnSpc>
        <a:spcBef>
          <a:spcPts val="400"/>
        </a:spcBef>
        <a:spcAft>
          <a:spcPts val="400"/>
        </a:spcAft>
        <a:buClr>
          <a:schemeClr val="tx1"/>
        </a:buClr>
        <a:buSzTx/>
        <a:buFont typeface="Wingdings" panose="05000000000000000000" pitchFamily="2" charset="2"/>
        <a:buChar char="§"/>
        <a:tabLst/>
        <a:defRPr lang="en-US" sz="1800" kern="1200" spc="-30" baseline="0" dirty="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lvl2pPr>
      <a:lvl3pPr marL="627063" marR="0" indent="-1682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Tx/>
        <a:buFont typeface="Century Gothic" panose="020B0502020202020204" pitchFamily="34" charset="0"/>
        <a:buChar char="◦"/>
        <a:tabLst/>
        <a:defRPr lang="en-US" sz="1600" kern="1200" spc="-30" baseline="0" dirty="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lvl3pPr>
      <a:lvl4pPr marL="855663" marR="0" indent="-166688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Tx/>
        <a:buFont typeface="Century Gothic" panose="020B0502020202020204" pitchFamily="34" charset="0"/>
        <a:buChar char="▫"/>
        <a:tabLst/>
        <a:defRPr lang="en-US" sz="1400" kern="1200" spc="-30" baseline="0" dirty="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lvl4pPr>
      <a:lvl5pPr marL="1084263" marR="0" indent="-166688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Tx/>
        <a:buFont typeface="Arial" panose="020B0604020202020204" pitchFamily="34" charset="0"/>
        <a:buChar char="•"/>
        <a:tabLst/>
        <a:defRPr lang="en-US" sz="1400" kern="1200" spc="-30" baseline="0" dirty="0">
          <a:solidFill>
            <a:schemeClr val="tx1"/>
          </a:solidFill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</a:defRPr>
      </a:lvl5pPr>
      <a:lvl6pPr marL="1144588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2"/>
        </a:buClr>
        <a:buFont typeface="Wingdings" panose="05000000000000000000" pitchFamily="2" charset="2"/>
        <a:buChar char="w"/>
        <a:defRPr lang="en-US" sz="1800" kern="1200" dirty="0">
          <a:solidFill>
            <a:schemeClr val="tx1">
              <a:lumMod val="20000"/>
              <a:lumOff val="80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">
          <p15:clr>
            <a:srgbClr val="F26B43"/>
          </p15:clr>
        </p15:guide>
        <p15:guide id="2" pos="7296">
          <p15:clr>
            <a:srgbClr val="F26B43"/>
          </p15:clr>
        </p15:guide>
        <p15:guide id="3" orient="horz" pos="720">
          <p15:clr>
            <a:srgbClr val="F26B43"/>
          </p15:clr>
        </p15:guide>
        <p15:guide id="4" orient="horz" pos="900">
          <p15:clr>
            <a:srgbClr val="F26B43"/>
          </p15:clr>
        </p15:guide>
        <p15:guide id="5" orient="horz" pos="3888">
          <p15:clr>
            <a:srgbClr val="F26B43"/>
          </p15:clr>
        </p15:guide>
        <p15:guide id="6" pos="3840">
          <p15:clr>
            <a:srgbClr val="F26B43"/>
          </p15:clr>
        </p15:guide>
        <p15:guide id="7" pos="6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50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6B74A7-645B-4791-9139-0949C07F12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aufort Memorial </a:t>
            </a:r>
            <a:br>
              <a:rPr lang="en-US" dirty="0"/>
            </a:br>
            <a:r>
              <a:rPr lang="en-US" dirty="0"/>
              <a:t>Analytical Assess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41FD56-E051-441B-B307-53E74D13D7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ctober 2021</a:t>
            </a:r>
          </a:p>
        </p:txBody>
      </p:sp>
    </p:spTree>
    <p:extLst>
      <p:ext uri="{BB962C8B-B14F-4D97-AF65-F5344CB8AC3E}">
        <p14:creationId xmlns:p14="http://schemas.microsoft.com/office/powerpoint/2010/main" val="2167882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a16="http://schemas.microsoft.com/office/drawing/2014/main" xmlns:a14="http://schemas.microsoft.com/office/drawing/2010/main" xmlns:asvg="http://schemas.microsoft.com/office/drawing/2016/SVG/main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53C0C89-9A71-F847-8CFD-C0D6ED4ED3C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B5C3D62-5C5B-431A-850E-4C6C268728E1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E7D2B9F-4F4A-F04D-AEF6-A1092EF8EE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cia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3EC66A-6E10-B945-8D47-3875950675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0700" y="1255196"/>
            <a:ext cx="8610600" cy="4976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171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AD41479-5D68-4243-BF29-68B236BB47B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B5C3D62-5C5B-431A-850E-4C6C268728E1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8EEE0C-B7A1-C64B-B851-3CA58E938E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pla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00DCBB9-F351-D94C-A212-6FDD5C83D0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2163" y="1371600"/>
            <a:ext cx="10127673" cy="457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325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2C11CDA-94E0-D043-8174-E2889286DF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B5C3D62-5C5B-431A-850E-4C6C268728E1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C614915-3157-6C4D-BCA3-B89A7144A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id Search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20163C1-B976-3442-B9B4-B019D5ED2E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0" y="1172816"/>
            <a:ext cx="9567689" cy="4830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053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DF966B-2255-EA44-9C26-906031CB9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491DBEB-3473-E046-9A84-D88ECFFC38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C3D62-5C5B-431A-850E-4C6C268728E1}" type="slidenum">
              <a:rPr lang="en-US" smtClean="0"/>
              <a:pPr/>
              <a:t>13</a:t>
            </a:fld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D36EC1C-E4E8-F64E-A29D-8AC863D9738C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3"/>
          <a:stretch>
            <a:fillRect/>
          </a:stretch>
        </p:blipFill>
        <p:spPr>
          <a:xfrm>
            <a:off x="609600" y="1676400"/>
            <a:ext cx="10972800" cy="2373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737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4773D9-93E3-FB40-AC69-42A94DBD0A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 Visited Pag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20C8B34-60D4-E545-A231-4997D55FA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C3D62-5C5B-431A-850E-4C6C268728E1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13E658-2E95-5746-9CD8-CA7563F14D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48791" y="1233152"/>
            <a:ext cx="7894417" cy="5020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443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1D8F839-6432-4F4A-9E1B-3747E8C768D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B5C3D62-5C5B-431A-850E-4C6C268728E1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EF0DA10-25D5-1A49-B6E8-6188BB402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te Traffic by Age Group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046FF4C-80B0-2F4C-ABC2-A9181EB967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371600"/>
            <a:ext cx="7772400" cy="322167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FDD7268-6A6D-CF4A-8224-ECF50993F2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0" y="1780228"/>
            <a:ext cx="2023716" cy="28130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837F7E3-4776-F649-A9CF-E0D9022BB4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7658" y="4603216"/>
            <a:ext cx="8796684" cy="1520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266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B70FDFC-E078-9F48-B13B-10EE671A0B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B5C3D62-5C5B-431A-850E-4C6C268728E1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391545-090A-6F45-B84C-24994F9AD5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te Traffic by Gende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192B995-465E-6F4E-BC82-8230B33751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0" y="1447800"/>
            <a:ext cx="10515600" cy="4249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100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C7C102-5053-644C-A30A-BAD7AB9E14B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B5C3D62-5C5B-431A-850E-4C6C268728E1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066C14F-FE0C-3944-B097-7A17724797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Funnel Flow from Home Pag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983FE00-D3D3-FB49-9C38-D189387B35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788899"/>
            <a:ext cx="12192000" cy="3280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5541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2218A7-3728-EF4B-8015-E9A50704F2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573080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3CEE50-8133-ED4C-9403-E2D744F9C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tics Overview</a:t>
            </a:r>
            <a:br>
              <a:rPr lang="en-US" dirty="0"/>
            </a:br>
            <a:r>
              <a:rPr lang="en-US" sz="1800" b="0" dirty="0"/>
              <a:t>October 1, 2020 – September 30, 2021</a:t>
            </a:r>
            <a:endParaRPr lang="en-US" b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C2977A-7544-5644-87E6-16590E86C5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C3D62-5C5B-431A-850E-4C6C268728E1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45A2D12-A0BF-E74C-A6FB-7B7160F404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2095500"/>
            <a:ext cx="8422588" cy="2667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8FB74AF-008D-0846-B25F-82F8551D57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66751" y="1179442"/>
            <a:ext cx="2950089" cy="41148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9E3F13E-DCE2-6C45-837F-54561EFF93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91600" y="1179442"/>
            <a:ext cx="2985819" cy="4124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523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FD550B-A5C2-1842-A2F9-C0A6A52E3A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tional Geograph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30D81A-399E-1B49-96CD-9D476171B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C3D62-5C5B-431A-850E-4C6C268728E1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62F3084-8267-D444-A1EE-290C03FEC8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9937" y="1371600"/>
            <a:ext cx="8112125" cy="454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873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FD550B-A5C2-1842-A2F9-C0A6A52E3A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l Geograph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30D81A-399E-1B49-96CD-9D476171B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C3D62-5C5B-431A-850E-4C6C268728E1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F6E97C-C111-7E44-8483-433867B63B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5475" y="1295400"/>
            <a:ext cx="8401050" cy="4697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349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1260A6-5B28-124C-9EDD-71AEB5D8B7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quisi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24A3057-768D-EB4C-ABCF-88E128401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C3D62-5C5B-431A-850E-4C6C268728E1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4E862DF-E597-2F4D-90B5-3DE7921B03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" y="1371600"/>
            <a:ext cx="10972800" cy="4749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673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81CD40-7FD6-DA4E-8ADB-F66AC02E2B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ganic Search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95A3C4-EB1F-6F4B-A237-17D5A8F3DF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C3D62-5C5B-431A-850E-4C6C268728E1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42DC16-59B2-5A4D-A99B-9436B1398B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5825" y="1354022"/>
            <a:ext cx="8140349" cy="4778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833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4FA2F5-3C17-8F40-92F7-5B9E2BA2B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rect Traffic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8A74DC-8ADF-BE4B-9EA6-E8DD24673A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C3D62-5C5B-431A-850E-4C6C268728E1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1708C74-10FE-B64A-9DE5-90F4F06145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4137" y="1142999"/>
            <a:ext cx="7943725" cy="4999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719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CCA9EEA-8E03-B44E-9C31-5D6E89122D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B5C3D62-5C5B-431A-850E-4C6C268728E1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F4192B2-52C5-764C-8996-534475F8A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ral Traffic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E749E7B-D1D9-BD47-AB8F-4224EFAE47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9750" y="1227002"/>
            <a:ext cx="8572499" cy="494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573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D69DF-BBD0-484D-9C02-3A9A0305A4F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B5C3D62-5C5B-431A-850E-4C6C268728E1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A56D88-D32D-294F-9068-22C0F65634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ai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FBE0503-3D89-4A49-B3E1-25B6571257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1729" y="1142999"/>
            <a:ext cx="7928541" cy="5048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10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21"/>
  <p:tag name="MIO_SHOW_DATE" val="False"/>
  <p:tag name="MIO_SHOW_FOOTER" val="False"/>
  <p:tag name="MIO_SHOW_PAGENUMBER" val="True"/>
  <p:tag name="MIO_AVOID_BLANK_LAYOUT" val="False"/>
  <p:tag name="MIO_CD_LAYOUT_VALID_AREA" val="False"/>
  <p:tag name="MIO_NUMBER_OF_VALID_LAYOUTS" val="40"/>
  <p:tag name="MIO_HDS" val="True"/>
  <p:tag name="MIO_SKIPVERSION" val="01.01.0001 00:00:00"/>
  <p:tag name="MIO_EKGUID" val="706df6e6-080f-4996-a394-33583829e5d6"/>
  <p:tag name="MIO_UPDATE" val="True"/>
  <p:tag name="MIO_VERSION" val="10.08.2021 17:59:03"/>
  <p:tag name="MIO_DBID" val="41B3FC78-CB87-4F08-9876-F280D1D773B4"/>
  <p:tag name="MIO_LASTDOWNLOADED" val="10.08.2021 14:08:26.893"/>
  <p:tag name="MIO_OBJECTNAME" val="MHC Master - August 2021"/>
  <p:tag name="MIO_LASTEDITORNAME" val="johan "/>
  <p:tag name="MIO_CDID" val="fac32d30-99ac-4d66-b591-d86d9d94cd1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Mercury Healthcare Copyright;"/>
  <p:tag name="MIO_USER_INPUT_OPTIONAL" val=" "/>
  <p:tag name="MIO_USER_INPUT_OPTIONS" val="© Copyright 2021 Mercury Healthcare, Inc. All rights reserved. CONFIDENTIAL &amp; PROPRIETARY.;© Copyright 2021 Mercury Healthcare, Inc. All rights reserved. FOR INTERNAL USE ONLY.;© Copyright 2021 Mercury Healthcare, Inc. All rights reserved.;DRAFT VERSION. DO NOT DISTRIBUTE."/>
</p:tagLst>
</file>

<file path=ppt/theme/theme1.xml><?xml version="1.0" encoding="utf-8"?>
<a:theme xmlns:a="http://schemas.openxmlformats.org/drawingml/2006/main" name="Mercury Healthcare Theme 1.0">
  <a:themeElements>
    <a:clrScheme name="Mercury Healthcare">
      <a:dk1>
        <a:srgbClr val="343437"/>
      </a:dk1>
      <a:lt1>
        <a:srgbClr val="FFFFFF"/>
      </a:lt1>
      <a:dk2>
        <a:srgbClr val="343437"/>
      </a:dk2>
      <a:lt2>
        <a:srgbClr val="F7F7F7"/>
      </a:lt2>
      <a:accent1>
        <a:srgbClr val="0240DF"/>
      </a:accent1>
      <a:accent2>
        <a:srgbClr val="29B6C2"/>
      </a:accent2>
      <a:accent3>
        <a:srgbClr val="B511D4"/>
      </a:accent3>
      <a:accent4>
        <a:srgbClr val="FD5B1A"/>
      </a:accent4>
      <a:accent5>
        <a:srgbClr val="FFAB21"/>
      </a:accent5>
      <a:accent6>
        <a:srgbClr val="70EFC1"/>
      </a:accent6>
      <a:hlink>
        <a:srgbClr val="027DFC"/>
      </a:hlink>
      <a:folHlink>
        <a:srgbClr val="0231B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dirty="0" err="1"/>
        </a:defPPr>
      </a:lstStyle>
    </a:txDef>
  </a:objectDefaults>
  <a:extraClrSchemeLst/>
  <a:custClrLst>
    <a:custClr name="Mercury Blue 90">
      <a:srgbClr val="020249"/>
    </a:custClr>
    <a:custClr name="Mercury Blue 40">
      <a:srgbClr val="027DFC"/>
    </a:custClr>
    <a:custClr name="Mercury Teal 90">
      <a:srgbClr val="003D4C"/>
    </a:custClr>
    <a:custClr name="Mercury Teal 40">
      <a:srgbClr val="4DC7D1"/>
    </a:custClr>
    <a:custClr name="Mercury Purple 90">
      <a:srgbClr val="450277"/>
    </a:custClr>
    <a:custClr name="Mercury Red 90">
      <a:srgbClr val="B10500"/>
    </a:custClr>
    <a:custClr name="Mercury Orange 90">
      <a:srgbClr val="D76A00"/>
    </a:custClr>
    <a:custClr name="Mercury Green 90">
      <a:srgbClr val="2C5B59"/>
    </a:custClr>
    <a:custClr name="----">
      <a:srgbClr val="FFFFFF"/>
    </a:custClr>
    <a:custClr name="Mercury Gray 90">
      <a:srgbClr val="343437"/>
    </a:custClr>
    <a:custClr name="Mercury Blue 80">
      <a:srgbClr val="02126F"/>
    </a:custClr>
    <a:custClr name="Mercury Blue 30">
      <a:srgbClr val="49A6FD"/>
    </a:custClr>
    <a:custClr name="Mercury Teal 80">
      <a:srgbClr val="0A5B6A"/>
    </a:custClr>
    <a:custClr name="Mercury Teal 30">
      <a:srgbClr val="46D3B2"/>
    </a:custClr>
    <a:custClr name="Mercury Purple 70">
      <a:srgbClr val="7D0AA6"/>
    </a:custClr>
    <a:custClr name="Mercury Red 70">
      <a:srgbClr val="D7300D"/>
    </a:custClr>
    <a:custClr name="Mercury Orange 70">
      <a:srgbClr val="EB8B11"/>
    </a:custClr>
    <a:custClr name="Mercury Green 70">
      <a:srgbClr val="168179"/>
    </a:custClr>
    <a:custClr name="----">
      <a:srgbClr val="FFFFFF"/>
    </a:custClr>
    <a:custClr name="Mercury Gray 70">
      <a:srgbClr val="656567"/>
    </a:custClr>
    <a:custClr name="Mercury Blue 70">
      <a:srgbClr val="022194"/>
    </a:custClr>
    <a:custClr name="Mercury Blue 20">
      <a:srgbClr val="8FCEFD"/>
    </a:custClr>
    <a:custClr name="Mercury Teal 70">
      <a:srgbClr val="157A87"/>
    </a:custClr>
    <a:custClr name="Mercury Teal 20">
      <a:srgbClr val="95E8F0"/>
    </a:custClr>
    <a:custClr name="Mercury Purple">
      <a:srgbClr val="B511D4"/>
    </a:custClr>
    <a:custClr name="Mercury Red">
      <a:srgbClr val="FD5B1A"/>
    </a:custClr>
    <a:custClr name="Mercury Orange">
      <a:srgbClr val="FFAB21"/>
    </a:custClr>
    <a:custClr name="Mercury Green">
      <a:srgbClr val="00A699"/>
    </a:custClr>
    <a:custClr name="----">
      <a:srgbClr val="FFFFFF"/>
    </a:custClr>
    <a:custClr name="Mercury Gray">
      <a:srgbClr val="969697"/>
    </a:custClr>
    <a:custClr name="Mercury Blue 60">
      <a:srgbClr val="0231BA"/>
    </a:custClr>
    <a:custClr name="Mercury Blue 10">
      <a:srgbClr val="D2ECF9"/>
    </a:custClr>
    <a:custClr name="Mercury Teal 60">
      <a:srgbClr val="1F98A4"/>
    </a:custClr>
    <a:custClr name="Mercury Teal 10">
      <a:srgbClr val="B9F9FF"/>
    </a:custClr>
    <a:custClr name="Mercury Purple 30">
      <a:srgbClr val="CC58EA"/>
    </a:custClr>
    <a:custClr name="Mercury Red 30">
      <a:srgbClr val="FE8A5B"/>
    </a:custClr>
    <a:custClr name="Mercury Orange 30">
      <a:srgbClr val="FFC152"/>
    </a:custClr>
    <a:custClr name="Mercury Green 30">
      <a:srgbClr val="46D3B2"/>
    </a:custClr>
    <a:custClr name="----">
      <a:srgbClr val="FFFFFF"/>
    </a:custClr>
    <a:custClr name="Mercury Gray 30">
      <a:srgbClr val="C6C6C7"/>
    </a:custClr>
    <a:custClr name="Mercury Blue">
      <a:srgbClr val="0240DF"/>
    </a:custClr>
    <a:custClr name="----">
      <a:srgbClr val="FFFFFF"/>
    </a:custClr>
    <a:custClr name="Mercury Teal">
      <a:srgbClr val="29B6C2"/>
    </a:custClr>
    <a:custClr name="----">
      <a:srgbClr val="FFFFFF"/>
    </a:custClr>
    <a:custClr name="Mercury Purple 10">
      <a:srgbClr val="E29FFF"/>
    </a:custClr>
    <a:custClr name="Mercury Red 10">
      <a:srgbClr val="FEB89C"/>
    </a:custClr>
    <a:custClr name="Mercury Orange 10">
      <a:srgbClr val="FFD682"/>
    </a:custClr>
    <a:custClr name="Mercury Green 10">
      <a:srgbClr val="B7F7DF"/>
    </a:custClr>
    <a:custClr name="----">
      <a:srgbClr val="FFFFFF"/>
    </a:custClr>
    <a:custClr name="Mercury Gray 10">
      <a:srgbClr val="F7F7F7"/>
    </a:custClr>
  </a:custClrLst>
  <a:extLst>
    <a:ext uri="{05A4C25C-085E-4340-85A3-A5531E510DB2}">
      <thm15:themeFamily xmlns:thm15="http://schemas.microsoft.com/office/thememl/2012/main" name="Default Theme.pptx" id="{CE723FE9-ED70-46B8-A82C-50F685BC5BB2}" vid="{A918DC2D-9D5A-4418-84FB-7087D463F1B0}"/>
    </a:ext>
  </a:extLst>
</a:theme>
</file>

<file path=ppt/theme/theme2.xml><?xml version="1.0" encoding="utf-8"?>
<a:theme xmlns:a="http://schemas.openxmlformats.org/drawingml/2006/main" name="Office Theme">
  <a:themeElements>
    <a:clrScheme name="Healthgrades Color Theme">
      <a:dk1>
        <a:srgbClr val="1C2B39"/>
      </a:dk1>
      <a:lt1>
        <a:srgbClr val="FFFFFF"/>
      </a:lt1>
      <a:dk2>
        <a:srgbClr val="003A5D"/>
      </a:dk2>
      <a:lt2>
        <a:srgbClr val="D8DCDB"/>
      </a:lt2>
      <a:accent1>
        <a:srgbClr val="0075BC"/>
      </a:accent1>
      <a:accent2>
        <a:srgbClr val="FAA41A"/>
      </a:accent2>
      <a:accent3>
        <a:srgbClr val="96CA4F"/>
      </a:accent3>
      <a:accent4>
        <a:srgbClr val="679FD5"/>
      </a:accent4>
      <a:accent5>
        <a:srgbClr val="B150C5"/>
      </a:accent5>
      <a:accent6>
        <a:srgbClr val="EE255C"/>
      </a:accent6>
      <a:hlink>
        <a:srgbClr val="9BC6EA"/>
      </a:hlink>
      <a:folHlink>
        <a:srgbClr val="A1ABB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Healthgrades Color Theme">
      <a:dk1>
        <a:srgbClr val="1C2B39"/>
      </a:dk1>
      <a:lt1>
        <a:srgbClr val="FFFFFF"/>
      </a:lt1>
      <a:dk2>
        <a:srgbClr val="003A5D"/>
      </a:dk2>
      <a:lt2>
        <a:srgbClr val="D8DCDB"/>
      </a:lt2>
      <a:accent1>
        <a:srgbClr val="0075BC"/>
      </a:accent1>
      <a:accent2>
        <a:srgbClr val="FAA41A"/>
      </a:accent2>
      <a:accent3>
        <a:srgbClr val="96CA4F"/>
      </a:accent3>
      <a:accent4>
        <a:srgbClr val="679FD5"/>
      </a:accent4>
      <a:accent5>
        <a:srgbClr val="B150C5"/>
      </a:accent5>
      <a:accent6>
        <a:srgbClr val="EE255C"/>
      </a:accent6>
      <a:hlink>
        <a:srgbClr val="9BC6EA"/>
      </a:hlink>
      <a:folHlink>
        <a:srgbClr val="A1ABB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361</TotalTime>
  <Words>560</Words>
  <Application>Microsoft Macintosh PowerPoint</Application>
  <PresentationFormat>Widescreen</PresentationFormat>
  <Paragraphs>96</Paragraphs>
  <Slides>18</Slides>
  <Notes>14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3" baseType="lpstr">
      <vt:lpstr>Arial</vt:lpstr>
      <vt:lpstr>Century Gothic</vt:lpstr>
      <vt:lpstr>Georgia</vt:lpstr>
      <vt:lpstr>Wingdings</vt:lpstr>
      <vt:lpstr>Mercury Healthcare Theme 1.0</vt:lpstr>
      <vt:lpstr>Beaufort Memorial  Analytical Assessment</vt:lpstr>
      <vt:lpstr>Analytics Overview October 1, 2020 – September 30, 2021</vt:lpstr>
      <vt:lpstr>National Geography</vt:lpstr>
      <vt:lpstr>Local Geography</vt:lpstr>
      <vt:lpstr>Acquisition</vt:lpstr>
      <vt:lpstr>Organic Search</vt:lpstr>
      <vt:lpstr>Direct Traffic</vt:lpstr>
      <vt:lpstr>Referral Traffic</vt:lpstr>
      <vt:lpstr>Email</vt:lpstr>
      <vt:lpstr>Social</vt:lpstr>
      <vt:lpstr>Display</vt:lpstr>
      <vt:lpstr>Paid Search</vt:lpstr>
      <vt:lpstr>Goals</vt:lpstr>
      <vt:lpstr>Top Visited Pages</vt:lpstr>
      <vt:lpstr>Site Traffic by Age Group</vt:lpstr>
      <vt:lpstr>Site Traffic by Gender</vt:lpstr>
      <vt:lpstr>User Funnel Flow from Home Page</vt:lpstr>
      <vt:lpstr>Thank You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eoffrey Ogonosky</dc:creator>
  <cp:keywords>icons;templates</cp:keywords>
  <cp:lastModifiedBy>Microsoft Office User</cp:lastModifiedBy>
  <cp:revision>7</cp:revision>
  <dcterms:created xsi:type="dcterms:W3CDTF">2021-08-24T15:50:41Z</dcterms:created>
  <dcterms:modified xsi:type="dcterms:W3CDTF">2021-10-07T15:12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644401</vt:lpwstr>
  </property>
  <property fmtid="{D5CDD505-2E9C-101B-9397-08002B2CF9AE}" pid="3" name="NXPowerLiteSettings">
    <vt:lpwstr>C700052003A000</vt:lpwstr>
  </property>
  <property fmtid="{D5CDD505-2E9C-101B-9397-08002B2CF9AE}" pid="4" name="NXPowerLiteVersion">
    <vt:lpwstr>D8.0.1</vt:lpwstr>
  </property>
</Properties>
</file>